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9" r:id="rId1"/>
    <p:sldMasterId id="2147483716" r:id="rId2"/>
    <p:sldMasterId id="2147483733" r:id="rId3"/>
    <p:sldMasterId id="2147483697" r:id="rId4"/>
    <p:sldMasterId id="2147483790" r:id="rId5"/>
  </p:sldMasterIdLst>
  <p:notesMasterIdLst>
    <p:notesMasterId r:id="rId27"/>
  </p:notesMasterIdLst>
  <p:handoutMasterIdLst>
    <p:handoutMasterId r:id="rId28"/>
  </p:handoutMasterIdLst>
  <p:sldIdLst>
    <p:sldId id="256" r:id="rId6"/>
    <p:sldId id="280" r:id="rId7"/>
    <p:sldId id="299" r:id="rId8"/>
    <p:sldId id="284" r:id="rId9"/>
    <p:sldId id="296" r:id="rId10"/>
    <p:sldId id="297" r:id="rId11"/>
    <p:sldId id="317" r:id="rId12"/>
    <p:sldId id="322" r:id="rId13"/>
    <p:sldId id="444" r:id="rId14"/>
    <p:sldId id="442" r:id="rId15"/>
    <p:sldId id="318" r:id="rId16"/>
    <p:sldId id="447" r:id="rId17"/>
    <p:sldId id="439" r:id="rId18"/>
    <p:sldId id="443" r:id="rId19"/>
    <p:sldId id="440" r:id="rId20"/>
    <p:sldId id="441" r:id="rId21"/>
    <p:sldId id="445" r:id="rId22"/>
    <p:sldId id="302" r:id="rId23"/>
    <p:sldId id="319" r:id="rId24"/>
    <p:sldId id="321" r:id="rId25"/>
    <p:sldId id="446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nfeld, Ashley (ES)" initials="RA(" lastIdx="1" clrIdx="0">
    <p:extLst>
      <p:ext uri="{19B8F6BF-5375-455C-9EA6-DF929625EA0E}">
        <p15:presenceInfo xmlns:p15="http://schemas.microsoft.com/office/powerpoint/2012/main" userId="S::rosenfea@ES.AD.ADP.COM::c7c0a00b-ed0e-4992-8e3b-29582ba612c7" providerId="AD"/>
      </p:ext>
    </p:extLst>
  </p:cmAuthor>
  <p:cmAuthor id="2" name="Arrindell, Charles (ES)" initials="AC(" lastIdx="4" clrIdx="1">
    <p:extLst>
      <p:ext uri="{19B8F6BF-5375-455C-9EA6-DF929625EA0E}">
        <p15:presenceInfo xmlns:p15="http://schemas.microsoft.com/office/powerpoint/2012/main" userId="S::arrindec@ES.AD.ADP.COM::fd3d2aee-16ca-4327-89c5-efbdf25c78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328C"/>
    <a:srgbClr val="2AB32C"/>
    <a:srgbClr val="FFFFFF"/>
    <a:srgbClr val="000000"/>
    <a:srgbClr val="FAC8BF"/>
    <a:srgbClr val="7D35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817" autoAdjust="0"/>
  </p:normalViewPr>
  <p:slideViewPr>
    <p:cSldViewPr snapToGrid="0" snapToObjects="1">
      <p:cViewPr varScale="1">
        <p:scale>
          <a:sx n="142" d="100"/>
          <a:sy n="142" d="100"/>
        </p:scale>
        <p:origin x="1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384"/>
    </p:cViewPr>
  </p:sorterViewPr>
  <p:notesViewPr>
    <p:cSldViewPr snapToGrid="0" snapToObjects="1">
      <p:cViewPr varScale="1">
        <p:scale>
          <a:sx n="80" d="100"/>
          <a:sy n="80" d="100"/>
        </p:scale>
        <p:origin x="306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8EE599-C4B4-4B09-A777-8344865F7E8F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AD1EA1F3-28AE-423F-BED6-DB729F9BD9F5}">
      <dgm:prSet phldrT="[Text]"/>
      <dgm:spPr/>
      <dgm:t>
        <a:bodyPr/>
        <a:lstStyle/>
        <a:p>
          <a:r>
            <a:rPr lang="en-US" dirty="0"/>
            <a:t>Attract</a:t>
          </a:r>
        </a:p>
      </dgm:t>
    </dgm:pt>
    <dgm:pt modelId="{00391D18-EBC6-4998-B4F0-7E5511B9B030}" type="parTrans" cxnId="{756327FA-450E-4BB8-9344-DE20BB7DB801}">
      <dgm:prSet/>
      <dgm:spPr/>
      <dgm:t>
        <a:bodyPr/>
        <a:lstStyle/>
        <a:p>
          <a:endParaRPr lang="en-US"/>
        </a:p>
      </dgm:t>
    </dgm:pt>
    <dgm:pt modelId="{9964097D-3BD0-4575-9D29-D5A6B5323C9E}" type="sibTrans" cxnId="{756327FA-450E-4BB8-9344-DE20BB7DB801}">
      <dgm:prSet/>
      <dgm:spPr/>
      <dgm:t>
        <a:bodyPr/>
        <a:lstStyle/>
        <a:p>
          <a:endParaRPr lang="en-US"/>
        </a:p>
      </dgm:t>
    </dgm:pt>
    <dgm:pt modelId="{13B4046E-DA02-42C9-ACCC-10F4B5A038B6}">
      <dgm:prSet phldrT="[Text]"/>
      <dgm:spPr/>
      <dgm:t>
        <a:bodyPr/>
        <a:lstStyle/>
        <a:p>
          <a:r>
            <a:rPr lang="en-US" dirty="0"/>
            <a:t>Engage</a:t>
          </a:r>
        </a:p>
      </dgm:t>
    </dgm:pt>
    <dgm:pt modelId="{C5AE5294-4FE8-44CC-8D01-45F98D0D5DC0}" type="parTrans" cxnId="{4FF3B95E-27B6-4360-9F96-217DB8155F0A}">
      <dgm:prSet/>
      <dgm:spPr/>
      <dgm:t>
        <a:bodyPr/>
        <a:lstStyle/>
        <a:p>
          <a:endParaRPr lang="en-US"/>
        </a:p>
      </dgm:t>
    </dgm:pt>
    <dgm:pt modelId="{398E98D7-DC6C-41CC-91A3-B59E3BE57BE0}" type="sibTrans" cxnId="{4FF3B95E-27B6-4360-9F96-217DB8155F0A}">
      <dgm:prSet/>
      <dgm:spPr/>
      <dgm:t>
        <a:bodyPr/>
        <a:lstStyle/>
        <a:p>
          <a:endParaRPr lang="en-US"/>
        </a:p>
      </dgm:t>
    </dgm:pt>
    <dgm:pt modelId="{A2F63D61-E758-485F-91AB-3D02686914CC}">
      <dgm:prSet phldrT="[Text]"/>
      <dgm:spPr/>
      <dgm:t>
        <a:bodyPr/>
        <a:lstStyle/>
        <a:p>
          <a:r>
            <a:rPr lang="en-US" dirty="0"/>
            <a:t>Assess</a:t>
          </a:r>
        </a:p>
      </dgm:t>
    </dgm:pt>
    <dgm:pt modelId="{C05FADEF-B6E4-4A69-A63B-4AD9F177427A}" type="parTrans" cxnId="{0F860FB1-E60E-4667-871F-AFC27E901CF2}">
      <dgm:prSet/>
      <dgm:spPr/>
      <dgm:t>
        <a:bodyPr/>
        <a:lstStyle/>
        <a:p>
          <a:endParaRPr lang="en-US"/>
        </a:p>
      </dgm:t>
    </dgm:pt>
    <dgm:pt modelId="{92B2076F-DE4D-43CA-8626-3FC3E0C22E77}" type="sibTrans" cxnId="{0F860FB1-E60E-4667-871F-AFC27E901CF2}">
      <dgm:prSet/>
      <dgm:spPr/>
      <dgm:t>
        <a:bodyPr/>
        <a:lstStyle/>
        <a:p>
          <a:endParaRPr lang="en-US"/>
        </a:p>
      </dgm:t>
    </dgm:pt>
    <dgm:pt modelId="{4D0119E5-324D-4B57-A6D7-B1E33428FAB8}" type="pres">
      <dgm:prSet presAssocID="{958EE599-C4B4-4B09-A777-8344865F7E8F}" presName="compositeShape" presStyleCnt="0">
        <dgm:presLayoutVars>
          <dgm:chMax val="7"/>
          <dgm:dir/>
          <dgm:resizeHandles val="exact"/>
        </dgm:presLayoutVars>
      </dgm:prSet>
      <dgm:spPr/>
    </dgm:pt>
    <dgm:pt modelId="{AA2F7733-872E-4938-8032-48AD8B73B2E2}" type="pres">
      <dgm:prSet presAssocID="{958EE599-C4B4-4B09-A777-8344865F7E8F}" presName="wedge1" presStyleLbl="node1" presStyleIdx="0" presStyleCnt="3"/>
      <dgm:spPr/>
    </dgm:pt>
    <dgm:pt modelId="{A958A874-6AD9-4D05-9689-4D118599DF8F}" type="pres">
      <dgm:prSet presAssocID="{958EE599-C4B4-4B09-A777-8344865F7E8F}" presName="dummy1a" presStyleCnt="0"/>
      <dgm:spPr/>
    </dgm:pt>
    <dgm:pt modelId="{50F15A82-BB85-4626-9121-441E1A2D36B4}" type="pres">
      <dgm:prSet presAssocID="{958EE599-C4B4-4B09-A777-8344865F7E8F}" presName="dummy1b" presStyleCnt="0"/>
      <dgm:spPr/>
    </dgm:pt>
    <dgm:pt modelId="{936967B6-81AA-4102-B168-85A1CBEE3BB7}" type="pres">
      <dgm:prSet presAssocID="{958EE599-C4B4-4B09-A777-8344865F7E8F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6929FB29-C768-49BF-B9A3-C32BCE926AC9}" type="pres">
      <dgm:prSet presAssocID="{958EE599-C4B4-4B09-A777-8344865F7E8F}" presName="wedge2" presStyleLbl="node1" presStyleIdx="1" presStyleCnt="3"/>
      <dgm:spPr/>
    </dgm:pt>
    <dgm:pt modelId="{F0B8E6D4-7F32-4C29-A9EA-51839D251BD6}" type="pres">
      <dgm:prSet presAssocID="{958EE599-C4B4-4B09-A777-8344865F7E8F}" presName="dummy2a" presStyleCnt="0"/>
      <dgm:spPr/>
    </dgm:pt>
    <dgm:pt modelId="{F63E288F-DABE-4A8A-8C73-7BA9C50F08DD}" type="pres">
      <dgm:prSet presAssocID="{958EE599-C4B4-4B09-A777-8344865F7E8F}" presName="dummy2b" presStyleCnt="0"/>
      <dgm:spPr/>
    </dgm:pt>
    <dgm:pt modelId="{A57E1282-E3B0-4407-B207-FCE6EF8DF8F3}" type="pres">
      <dgm:prSet presAssocID="{958EE599-C4B4-4B09-A777-8344865F7E8F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CB4EC5E-B28A-476F-B3C5-9676649447E5}" type="pres">
      <dgm:prSet presAssocID="{958EE599-C4B4-4B09-A777-8344865F7E8F}" presName="wedge3" presStyleLbl="node1" presStyleIdx="2" presStyleCnt="3"/>
      <dgm:spPr/>
    </dgm:pt>
    <dgm:pt modelId="{A890E5AE-961C-432A-BC20-75AD41190918}" type="pres">
      <dgm:prSet presAssocID="{958EE599-C4B4-4B09-A777-8344865F7E8F}" presName="dummy3a" presStyleCnt="0"/>
      <dgm:spPr/>
    </dgm:pt>
    <dgm:pt modelId="{38083EB1-54B7-4E3C-B1E1-F34AD2865A1A}" type="pres">
      <dgm:prSet presAssocID="{958EE599-C4B4-4B09-A777-8344865F7E8F}" presName="dummy3b" presStyleCnt="0"/>
      <dgm:spPr/>
    </dgm:pt>
    <dgm:pt modelId="{D4526A50-93CC-41DA-BDD8-7A66ED1BC860}" type="pres">
      <dgm:prSet presAssocID="{958EE599-C4B4-4B09-A777-8344865F7E8F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EA8E6797-1FF5-4A85-B992-CCFAA62DA317}" type="pres">
      <dgm:prSet presAssocID="{9964097D-3BD0-4575-9D29-D5A6B5323C9E}" presName="arrowWedge1" presStyleLbl="fgSibTrans2D1" presStyleIdx="0" presStyleCnt="3"/>
      <dgm:spPr/>
    </dgm:pt>
    <dgm:pt modelId="{A558BF5D-1B2D-44E5-8700-062D6AFF79E1}" type="pres">
      <dgm:prSet presAssocID="{398E98D7-DC6C-41CC-91A3-B59E3BE57BE0}" presName="arrowWedge2" presStyleLbl="fgSibTrans2D1" presStyleIdx="1" presStyleCnt="3"/>
      <dgm:spPr/>
    </dgm:pt>
    <dgm:pt modelId="{F4CC89BC-1E46-4A29-B2F0-AE429041E889}" type="pres">
      <dgm:prSet presAssocID="{92B2076F-DE4D-43CA-8626-3FC3E0C22E77}" presName="arrowWedge3" presStyleLbl="fgSibTrans2D1" presStyleIdx="2" presStyleCnt="3"/>
      <dgm:spPr/>
    </dgm:pt>
  </dgm:ptLst>
  <dgm:cxnLst>
    <dgm:cxn modelId="{4FF3B95E-27B6-4360-9F96-217DB8155F0A}" srcId="{958EE599-C4B4-4B09-A777-8344865F7E8F}" destId="{13B4046E-DA02-42C9-ACCC-10F4B5A038B6}" srcOrd="1" destOrd="0" parTransId="{C5AE5294-4FE8-44CC-8D01-45F98D0D5DC0}" sibTransId="{398E98D7-DC6C-41CC-91A3-B59E3BE57BE0}"/>
    <dgm:cxn modelId="{CB136741-3DCE-4229-851D-DF1E40ED5A47}" type="presOf" srcId="{13B4046E-DA02-42C9-ACCC-10F4B5A038B6}" destId="{A57E1282-E3B0-4407-B207-FCE6EF8DF8F3}" srcOrd="1" destOrd="0" presId="urn:microsoft.com/office/officeart/2005/8/layout/cycle8"/>
    <dgm:cxn modelId="{73360E4A-AD62-48F0-99B2-A0D36253E327}" type="presOf" srcId="{AD1EA1F3-28AE-423F-BED6-DB729F9BD9F5}" destId="{AA2F7733-872E-4938-8032-48AD8B73B2E2}" srcOrd="0" destOrd="0" presId="urn:microsoft.com/office/officeart/2005/8/layout/cycle8"/>
    <dgm:cxn modelId="{14BF0D70-9F91-4AA6-B35B-2AF371C621D6}" type="presOf" srcId="{13B4046E-DA02-42C9-ACCC-10F4B5A038B6}" destId="{6929FB29-C768-49BF-B9A3-C32BCE926AC9}" srcOrd="0" destOrd="0" presId="urn:microsoft.com/office/officeart/2005/8/layout/cycle8"/>
    <dgm:cxn modelId="{473A6E59-AB7F-4E2B-8195-0E1238516B12}" type="presOf" srcId="{A2F63D61-E758-485F-91AB-3D02686914CC}" destId="{D4526A50-93CC-41DA-BDD8-7A66ED1BC860}" srcOrd="1" destOrd="0" presId="urn:microsoft.com/office/officeart/2005/8/layout/cycle8"/>
    <dgm:cxn modelId="{E64BEF7F-19EA-47C2-ABD3-F701B27255EF}" type="presOf" srcId="{AD1EA1F3-28AE-423F-BED6-DB729F9BD9F5}" destId="{936967B6-81AA-4102-B168-85A1CBEE3BB7}" srcOrd="1" destOrd="0" presId="urn:microsoft.com/office/officeart/2005/8/layout/cycle8"/>
    <dgm:cxn modelId="{76C71E91-2EFE-4ECD-8DB6-3CB21FE96FED}" type="presOf" srcId="{A2F63D61-E758-485F-91AB-3D02686914CC}" destId="{ACB4EC5E-B28A-476F-B3C5-9676649447E5}" srcOrd="0" destOrd="0" presId="urn:microsoft.com/office/officeart/2005/8/layout/cycle8"/>
    <dgm:cxn modelId="{0F860FB1-E60E-4667-871F-AFC27E901CF2}" srcId="{958EE599-C4B4-4B09-A777-8344865F7E8F}" destId="{A2F63D61-E758-485F-91AB-3D02686914CC}" srcOrd="2" destOrd="0" parTransId="{C05FADEF-B6E4-4A69-A63B-4AD9F177427A}" sibTransId="{92B2076F-DE4D-43CA-8626-3FC3E0C22E77}"/>
    <dgm:cxn modelId="{9A50C1B4-804B-4210-8239-DB2F823F8A5A}" type="presOf" srcId="{958EE599-C4B4-4B09-A777-8344865F7E8F}" destId="{4D0119E5-324D-4B57-A6D7-B1E33428FAB8}" srcOrd="0" destOrd="0" presId="urn:microsoft.com/office/officeart/2005/8/layout/cycle8"/>
    <dgm:cxn modelId="{756327FA-450E-4BB8-9344-DE20BB7DB801}" srcId="{958EE599-C4B4-4B09-A777-8344865F7E8F}" destId="{AD1EA1F3-28AE-423F-BED6-DB729F9BD9F5}" srcOrd="0" destOrd="0" parTransId="{00391D18-EBC6-4998-B4F0-7E5511B9B030}" sibTransId="{9964097D-3BD0-4575-9D29-D5A6B5323C9E}"/>
    <dgm:cxn modelId="{BCEED62A-91D4-4C97-8421-71E9940DF4DF}" type="presParOf" srcId="{4D0119E5-324D-4B57-A6D7-B1E33428FAB8}" destId="{AA2F7733-872E-4938-8032-48AD8B73B2E2}" srcOrd="0" destOrd="0" presId="urn:microsoft.com/office/officeart/2005/8/layout/cycle8"/>
    <dgm:cxn modelId="{86930260-6DD5-49DA-A592-3AFCED70DED9}" type="presParOf" srcId="{4D0119E5-324D-4B57-A6D7-B1E33428FAB8}" destId="{A958A874-6AD9-4D05-9689-4D118599DF8F}" srcOrd="1" destOrd="0" presId="urn:microsoft.com/office/officeart/2005/8/layout/cycle8"/>
    <dgm:cxn modelId="{A5654F50-EED4-4C22-89E7-9A1D4DE36F5E}" type="presParOf" srcId="{4D0119E5-324D-4B57-A6D7-B1E33428FAB8}" destId="{50F15A82-BB85-4626-9121-441E1A2D36B4}" srcOrd="2" destOrd="0" presId="urn:microsoft.com/office/officeart/2005/8/layout/cycle8"/>
    <dgm:cxn modelId="{5A52B29F-8BDA-4E96-8A9F-462DFA5EF262}" type="presParOf" srcId="{4D0119E5-324D-4B57-A6D7-B1E33428FAB8}" destId="{936967B6-81AA-4102-B168-85A1CBEE3BB7}" srcOrd="3" destOrd="0" presId="urn:microsoft.com/office/officeart/2005/8/layout/cycle8"/>
    <dgm:cxn modelId="{44C90D24-613E-4A99-A576-D49DDF8739E7}" type="presParOf" srcId="{4D0119E5-324D-4B57-A6D7-B1E33428FAB8}" destId="{6929FB29-C768-49BF-B9A3-C32BCE926AC9}" srcOrd="4" destOrd="0" presId="urn:microsoft.com/office/officeart/2005/8/layout/cycle8"/>
    <dgm:cxn modelId="{DF0771FA-93A5-462B-B142-30EC2D9EE77E}" type="presParOf" srcId="{4D0119E5-324D-4B57-A6D7-B1E33428FAB8}" destId="{F0B8E6D4-7F32-4C29-A9EA-51839D251BD6}" srcOrd="5" destOrd="0" presId="urn:microsoft.com/office/officeart/2005/8/layout/cycle8"/>
    <dgm:cxn modelId="{DA6B3B8D-339A-4F2B-8962-B25895D7DD05}" type="presParOf" srcId="{4D0119E5-324D-4B57-A6D7-B1E33428FAB8}" destId="{F63E288F-DABE-4A8A-8C73-7BA9C50F08DD}" srcOrd="6" destOrd="0" presId="urn:microsoft.com/office/officeart/2005/8/layout/cycle8"/>
    <dgm:cxn modelId="{4CC73E70-E142-496E-8675-748D51E8EBA5}" type="presParOf" srcId="{4D0119E5-324D-4B57-A6D7-B1E33428FAB8}" destId="{A57E1282-E3B0-4407-B207-FCE6EF8DF8F3}" srcOrd="7" destOrd="0" presId="urn:microsoft.com/office/officeart/2005/8/layout/cycle8"/>
    <dgm:cxn modelId="{F8CF9556-31E5-49D6-B244-049D693C3211}" type="presParOf" srcId="{4D0119E5-324D-4B57-A6D7-B1E33428FAB8}" destId="{ACB4EC5E-B28A-476F-B3C5-9676649447E5}" srcOrd="8" destOrd="0" presId="urn:microsoft.com/office/officeart/2005/8/layout/cycle8"/>
    <dgm:cxn modelId="{9153998D-3CD1-46CB-B536-FB79F9EB2463}" type="presParOf" srcId="{4D0119E5-324D-4B57-A6D7-B1E33428FAB8}" destId="{A890E5AE-961C-432A-BC20-75AD41190918}" srcOrd="9" destOrd="0" presId="urn:microsoft.com/office/officeart/2005/8/layout/cycle8"/>
    <dgm:cxn modelId="{7E23FE6B-4FC0-481D-9C43-749723EAA7CA}" type="presParOf" srcId="{4D0119E5-324D-4B57-A6D7-B1E33428FAB8}" destId="{38083EB1-54B7-4E3C-B1E1-F34AD2865A1A}" srcOrd="10" destOrd="0" presId="urn:microsoft.com/office/officeart/2005/8/layout/cycle8"/>
    <dgm:cxn modelId="{90B2250D-7A85-4234-8A64-FF0E8F1CBCC2}" type="presParOf" srcId="{4D0119E5-324D-4B57-A6D7-B1E33428FAB8}" destId="{D4526A50-93CC-41DA-BDD8-7A66ED1BC860}" srcOrd="11" destOrd="0" presId="urn:microsoft.com/office/officeart/2005/8/layout/cycle8"/>
    <dgm:cxn modelId="{EFCCD54E-89C0-4323-9509-CF2A506A5AD8}" type="presParOf" srcId="{4D0119E5-324D-4B57-A6D7-B1E33428FAB8}" destId="{EA8E6797-1FF5-4A85-B992-CCFAA62DA317}" srcOrd="12" destOrd="0" presId="urn:microsoft.com/office/officeart/2005/8/layout/cycle8"/>
    <dgm:cxn modelId="{1A299F12-8967-43E8-84E1-14928F9B4FF5}" type="presParOf" srcId="{4D0119E5-324D-4B57-A6D7-B1E33428FAB8}" destId="{A558BF5D-1B2D-44E5-8700-062D6AFF79E1}" srcOrd="13" destOrd="0" presId="urn:microsoft.com/office/officeart/2005/8/layout/cycle8"/>
    <dgm:cxn modelId="{B457048F-7227-4725-99DD-36FD7FC3CE0D}" type="presParOf" srcId="{4D0119E5-324D-4B57-A6D7-B1E33428FAB8}" destId="{F4CC89BC-1E46-4A29-B2F0-AE429041E889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2F7733-872E-4938-8032-48AD8B73B2E2}">
      <dsp:nvSpPr>
        <dsp:cNvPr id="0" name=""/>
        <dsp:cNvSpPr/>
      </dsp:nvSpPr>
      <dsp:spPr>
        <a:xfrm>
          <a:off x="873495" y="161964"/>
          <a:ext cx="2093075" cy="2093075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ttract</a:t>
          </a:r>
        </a:p>
      </dsp:txBody>
      <dsp:txXfrm>
        <a:off x="1976596" y="605496"/>
        <a:ext cx="747527" cy="622939"/>
      </dsp:txXfrm>
    </dsp:sp>
    <dsp:sp modelId="{6929FB29-C768-49BF-B9A3-C32BCE926AC9}">
      <dsp:nvSpPr>
        <dsp:cNvPr id="0" name=""/>
        <dsp:cNvSpPr/>
      </dsp:nvSpPr>
      <dsp:spPr>
        <a:xfrm>
          <a:off x="830388" y="236716"/>
          <a:ext cx="2093075" cy="2093075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ngage</a:t>
          </a:r>
        </a:p>
      </dsp:txBody>
      <dsp:txXfrm>
        <a:off x="1328739" y="1594724"/>
        <a:ext cx="1121290" cy="548186"/>
      </dsp:txXfrm>
    </dsp:sp>
    <dsp:sp modelId="{ACB4EC5E-B28A-476F-B3C5-9676649447E5}">
      <dsp:nvSpPr>
        <dsp:cNvPr id="0" name=""/>
        <dsp:cNvSpPr/>
      </dsp:nvSpPr>
      <dsp:spPr>
        <a:xfrm>
          <a:off x="787281" y="161964"/>
          <a:ext cx="2093075" cy="2093075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ssess</a:t>
          </a:r>
        </a:p>
      </dsp:txBody>
      <dsp:txXfrm>
        <a:off x="1029729" y="605496"/>
        <a:ext cx="747527" cy="622939"/>
      </dsp:txXfrm>
    </dsp:sp>
    <dsp:sp modelId="{EA8E6797-1FF5-4A85-B992-CCFAA62DA317}">
      <dsp:nvSpPr>
        <dsp:cNvPr id="0" name=""/>
        <dsp:cNvSpPr/>
      </dsp:nvSpPr>
      <dsp:spPr>
        <a:xfrm>
          <a:off x="744097" y="32392"/>
          <a:ext cx="2352218" cy="2352218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58BF5D-1B2D-44E5-8700-062D6AFF79E1}">
      <dsp:nvSpPr>
        <dsp:cNvPr id="0" name=""/>
        <dsp:cNvSpPr/>
      </dsp:nvSpPr>
      <dsp:spPr>
        <a:xfrm>
          <a:off x="700817" y="107013"/>
          <a:ext cx="2352218" cy="2352218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CC89BC-1E46-4A29-B2F0-AE429041E889}">
      <dsp:nvSpPr>
        <dsp:cNvPr id="0" name=""/>
        <dsp:cNvSpPr/>
      </dsp:nvSpPr>
      <dsp:spPr>
        <a:xfrm>
          <a:off x="657537" y="32392"/>
          <a:ext cx="2352218" cy="2352218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3ABD18-1FA1-4337-9616-BF712987D4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7EED5B-323D-458E-A739-7B833D15C6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9D552B-7E32-45AC-A3F8-FBB0634FD5D6}" type="datetimeFigureOut">
              <a:rPr lang="en-US" smtClean="0"/>
              <a:t>10/26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880066-1FA8-476E-962D-0AEB5E1B45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48696A-0917-4B40-A8BA-95BE9E189C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81D2F1-23BE-45C7-8533-9FA41E6B57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831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5F237-14B1-44F1-B50A-02795525D4BD}" type="datetimeFigureOut">
              <a:rPr lang="en-US" smtClean="0"/>
              <a:t>10/2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89EA6-10CF-4B84-A1CD-EB157AC13D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8155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89EA6-10CF-4B84-A1CD-EB157AC13D6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0339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45148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1549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573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80865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3581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6672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7463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8344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63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6031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1039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94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187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344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58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389EA6-10CF-4B84-A1CD-EB157AC13D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1935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14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4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4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4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4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4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14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4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4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4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emf"/><Relationship Id="rId2" Type="http://schemas.openxmlformats.org/officeDocument/2006/relationships/tags" Target="../tags/tag7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5.emf"/><Relationship Id="rId2" Type="http://schemas.openxmlformats.org/officeDocument/2006/relationships/tags" Target="../tags/tag7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5.emf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.emf"/><Relationship Id="rId2" Type="http://schemas.openxmlformats.org/officeDocument/2006/relationships/tags" Target="../tags/tag8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emf"/><Relationship Id="rId2" Type="http://schemas.openxmlformats.org/officeDocument/2006/relationships/tags" Target="../tags/tag8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5.emf"/><Relationship Id="rId2" Type="http://schemas.openxmlformats.org/officeDocument/2006/relationships/tags" Target="../tags/tag9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5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5.emf"/><Relationship Id="rId2" Type="http://schemas.openxmlformats.org/officeDocument/2006/relationships/tags" Target="../tags/tag9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2BFB32E-0672-4A3F-991A-E99D4EC2F5C0}"/>
              </a:ext>
            </a:extLst>
          </p:cNvPr>
          <p:cNvSpPr/>
          <p:nvPr userDrawn="1"/>
        </p:nvSpPr>
        <p:spPr>
          <a:xfrm>
            <a:off x="-1" y="821534"/>
            <a:ext cx="7408069" cy="4329113"/>
          </a:xfrm>
          <a:custGeom>
            <a:avLst/>
            <a:gdLst>
              <a:gd name="connsiteX0" fmla="*/ 0 w 7408069"/>
              <a:gd name="connsiteY0" fmla="*/ 0 h 4329113"/>
              <a:gd name="connsiteX1" fmla="*/ 5038919 w 7408069"/>
              <a:gd name="connsiteY1" fmla="*/ 0 h 4329113"/>
              <a:gd name="connsiteX2" fmla="*/ 5038919 w 7408069"/>
              <a:gd name="connsiteY2" fmla="*/ 2677945 h 4329113"/>
              <a:gd name="connsiteX3" fmla="*/ 7408069 w 7408069"/>
              <a:gd name="connsiteY3" fmla="*/ 2677945 h 4329113"/>
              <a:gd name="connsiteX4" fmla="*/ 7408069 w 7408069"/>
              <a:gd name="connsiteY4" fmla="*/ 4329113 h 4329113"/>
              <a:gd name="connsiteX5" fmla="*/ 0 w 7408069"/>
              <a:gd name="connsiteY5" fmla="*/ 4329113 h 432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069" h="4329113">
                <a:moveTo>
                  <a:pt x="0" y="0"/>
                </a:moveTo>
                <a:lnTo>
                  <a:pt x="5038919" y="0"/>
                </a:lnTo>
                <a:cubicBezTo>
                  <a:pt x="5038919" y="892648"/>
                  <a:pt x="5038919" y="1785297"/>
                  <a:pt x="5038919" y="2677945"/>
                </a:cubicBezTo>
                <a:lnTo>
                  <a:pt x="7408069" y="2677945"/>
                </a:lnTo>
                <a:lnTo>
                  <a:pt x="7408069" y="4329113"/>
                </a:lnTo>
                <a:lnTo>
                  <a:pt x="0" y="432911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38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92C563-ED97-46A2-B830-B18D61C8C793}"/>
              </a:ext>
            </a:extLst>
          </p:cNvPr>
          <p:cNvSpPr/>
          <p:nvPr userDrawn="1"/>
        </p:nvSpPr>
        <p:spPr>
          <a:xfrm>
            <a:off x="7405181" y="3500505"/>
            <a:ext cx="1738820" cy="16501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904C9-93C8-439E-85F3-FD5119FAF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021" r="16362"/>
          <a:stretch/>
        </p:blipFill>
        <p:spPr>
          <a:xfrm>
            <a:off x="6142395" y="821530"/>
            <a:ext cx="3001607" cy="2218772"/>
          </a:xfrm>
          <a:prstGeom prst="rect">
            <a:avLst/>
          </a:prstGeom>
        </p:spPr>
      </p:pic>
      <p:sp>
        <p:nvSpPr>
          <p:cNvPr id="17" name="ADP MAS Executive Overview…">
            <a:extLst>
              <a:ext uri="{FF2B5EF4-FFF2-40B4-BE49-F238E27FC236}">
                <a16:creationId xmlns:a16="http://schemas.microsoft.com/office/drawing/2014/main" id="{E0588020-457D-480D-804A-A1838F6E80FE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384048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3840480" cy="246221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690E10D-A3D3-4B6F-B508-A0AF44EF4961}"/>
              </a:ext>
            </a:extLst>
          </p:cNvPr>
          <p:cNvCxnSpPr>
            <a:cxnSpLocks/>
          </p:cNvCxnSpPr>
          <p:nvPr userDrawn="1"/>
        </p:nvCxnSpPr>
        <p:spPr>
          <a:xfrm flipV="1">
            <a:off x="5038920" y="-10883"/>
            <a:ext cx="0" cy="351138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BBBB79B-8184-4170-893C-D13D76677E08}"/>
              </a:ext>
            </a:extLst>
          </p:cNvPr>
          <p:cNvCxnSpPr>
            <a:cxnSpLocks/>
          </p:cNvCxnSpPr>
          <p:nvPr userDrawn="1"/>
        </p:nvCxnSpPr>
        <p:spPr>
          <a:xfrm>
            <a:off x="1" y="821531"/>
            <a:ext cx="915488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EDA9D25-F463-48E3-B373-D08B710BB28E}"/>
              </a:ext>
            </a:extLst>
          </p:cNvPr>
          <p:cNvCxnSpPr>
            <a:cxnSpLocks/>
          </p:cNvCxnSpPr>
          <p:nvPr userDrawn="1"/>
        </p:nvCxnSpPr>
        <p:spPr>
          <a:xfrm>
            <a:off x="5038922" y="3500504"/>
            <a:ext cx="411596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CD0FC91-0084-4A35-AF6B-9CFCB2CC9C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6136" y="4325115"/>
            <a:ext cx="868680" cy="6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9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1B32FE-A062-4EED-A7B4-54E9B91A8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0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0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1BB9AD4-8630-4E1B-B9BC-60E83DCF7C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4"/>
            <a:ext cx="0" cy="398936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41C2E-B1EE-4F0C-B39F-ADC3C97F68F4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CA52B080-5B03-4710-B41C-CDFA01A40668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881ADF28-5734-4233-B87C-C89A72029F5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3D8951D-5638-4C5D-9529-01124EB764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85F7F-4B79-4A5D-A3E9-7A3040E76A3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7E799CE-5C03-45ED-B7F1-FCA7822DB0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405383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BB1598-F334-40FE-96D9-B67E510C4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047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03574E-7474-4B2F-BA46-9F8A7FEC8C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098D04-7ACF-482F-ACF9-69398D9C08E3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7A1300FD-ED04-4341-AB6A-5E55718E4C5E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03A8512-B8CB-4D99-855F-F447A5435AE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0607B4-7327-4C6F-8E45-0DE8B9FB72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07F3CAF-1E78-4875-A454-3F8B318382BB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id="{16C949D5-F1B9-4E6D-9F63-7C9349E465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100221-BEBD-4112-8642-0874305F47CF}"/>
              </a:ext>
            </a:extLst>
          </p:cNvPr>
          <p:cNvGrpSpPr/>
          <p:nvPr userDrawn="1"/>
        </p:nvGrpSpPr>
        <p:grpSpPr>
          <a:xfrm>
            <a:off x="2784347" y="1154133"/>
            <a:ext cx="2697480" cy="3989371"/>
            <a:chOff x="2784347" y="1227222"/>
            <a:chExt cx="2697480" cy="391627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74215BB-0E5E-47CA-B2DF-CB507E3918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6E5B37A-AA00-4571-A3E7-E7AE046371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1061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3952A8-A4D1-4A53-9D1B-BE1C127DD1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408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32A89D-DF31-4CBB-B13A-908F506C7B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C3B40E-D517-477C-BEC9-861FD7E490F5}"/>
              </a:ext>
            </a:extLst>
          </p:cNvPr>
          <p:cNvGrpSpPr/>
          <p:nvPr userDrawn="1"/>
        </p:nvGrpSpPr>
        <p:grpSpPr>
          <a:xfrm>
            <a:off x="2784347" y="1154133"/>
            <a:ext cx="2697480" cy="3989371"/>
            <a:chOff x="2784347" y="1227222"/>
            <a:chExt cx="2697480" cy="391627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EC0CB8F-8E22-48DB-8BEF-228A245374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7A86DB-EF67-4F68-95D5-6FB09D173D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F93208-D0C2-4CED-9396-138F78FD7D89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58BD208D-50E5-4494-B978-019D14097C4E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A6B515C7-AB2B-4179-83EC-9825C49D4C5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B13C38-DF68-4D31-A527-A68D20E02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ACB78C-05F4-444C-A0E1-45F70B1140FD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DCE8F81-B1BE-481A-A388-157E9B695B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80457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4"/>
            <a:ext cx="7498080" cy="15388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07CB27-C2CE-4C0F-9273-4268E13AAFA3}"/>
              </a:ext>
            </a:extLst>
          </p:cNvPr>
          <p:cNvCxnSpPr/>
          <p:nvPr userDrawn="1"/>
        </p:nvCxnSpPr>
        <p:spPr>
          <a:xfrm>
            <a:off x="240631" y="567922"/>
            <a:ext cx="0" cy="456778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91CB3F-1AA6-4C2A-80AF-61E30D1F2C2F}"/>
              </a:ext>
            </a:extLst>
          </p:cNvPr>
          <p:cNvCxnSpPr>
            <a:cxnSpLocks/>
          </p:cNvCxnSpPr>
          <p:nvPr userDrawn="1"/>
        </p:nvCxnSpPr>
        <p:spPr>
          <a:xfrm>
            <a:off x="1" y="567918"/>
            <a:ext cx="8161103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F56DEE-6AFE-41C5-A208-88CE538FD9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EAED03-FD40-4C12-BB69-3BC276DD62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07" y="921820"/>
            <a:ext cx="5965764" cy="3809463"/>
          </a:xfrm>
          <a:prstGeom prst="rect">
            <a:avLst/>
          </a:prstGeom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D4AE4277-BDDB-47EC-8079-154D20AFA8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853441" y="1191027"/>
            <a:ext cx="4561009" cy="2882831"/>
          </a:xfrm>
          <a:ln w="6350">
            <a:solidFill>
              <a:schemeClr val="tx1">
                <a:lumMod val="40000"/>
                <a:lumOff val="6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41E85A-1790-4DF0-B46A-D9E8C07B8E39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22" name="Line">
            <a:extLst>
              <a:ext uri="{FF2B5EF4-FFF2-40B4-BE49-F238E27FC236}">
                <a16:creationId xmlns:a16="http://schemas.microsoft.com/office/drawing/2014/main" id="{69B407B2-7763-4D5C-93EB-C127E8A9964D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584D058B-5B09-436D-B588-DD140C66520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71AC92E-F024-4688-B87F-CF46AAC7F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72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CE8B08-EA69-4458-9637-876FC51604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5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C6751-1AB1-41C7-AA2E-FC23F0A7CE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41ABD1-B2B8-4B31-865E-55BB429D5359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80ED1346-C3FD-4BAE-A1A9-0BDB05DCD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F58FE6-8921-4C4F-AFA6-491A979C0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49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13226-0CC3-4F98-850D-52A27DF6C5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47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0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AB827C-93C5-47F2-A706-8600E39913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E675A3-6905-4528-B343-87BF1DC2A04C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6A329D7-02B3-4992-83CF-B2C0D43D32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863C8FE-E5C3-4BAD-9BB0-48E974CCD9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45131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2BFB32E-0672-4A3F-991A-E99D4EC2F5C0}"/>
              </a:ext>
            </a:extLst>
          </p:cNvPr>
          <p:cNvSpPr/>
          <p:nvPr userDrawn="1"/>
        </p:nvSpPr>
        <p:spPr>
          <a:xfrm>
            <a:off x="-1" y="821534"/>
            <a:ext cx="7408069" cy="4329113"/>
          </a:xfrm>
          <a:custGeom>
            <a:avLst/>
            <a:gdLst>
              <a:gd name="connsiteX0" fmla="*/ 0 w 7408069"/>
              <a:gd name="connsiteY0" fmla="*/ 0 h 4329113"/>
              <a:gd name="connsiteX1" fmla="*/ 5038919 w 7408069"/>
              <a:gd name="connsiteY1" fmla="*/ 0 h 4329113"/>
              <a:gd name="connsiteX2" fmla="*/ 5038919 w 7408069"/>
              <a:gd name="connsiteY2" fmla="*/ 2677945 h 4329113"/>
              <a:gd name="connsiteX3" fmla="*/ 7408069 w 7408069"/>
              <a:gd name="connsiteY3" fmla="*/ 2677945 h 4329113"/>
              <a:gd name="connsiteX4" fmla="*/ 7408069 w 7408069"/>
              <a:gd name="connsiteY4" fmla="*/ 4329113 h 4329113"/>
              <a:gd name="connsiteX5" fmla="*/ 0 w 7408069"/>
              <a:gd name="connsiteY5" fmla="*/ 4329113 h 432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069" h="4329113">
                <a:moveTo>
                  <a:pt x="0" y="0"/>
                </a:moveTo>
                <a:lnTo>
                  <a:pt x="5038919" y="0"/>
                </a:lnTo>
                <a:cubicBezTo>
                  <a:pt x="5038919" y="892648"/>
                  <a:pt x="5038919" y="1785297"/>
                  <a:pt x="5038919" y="2677945"/>
                </a:cubicBezTo>
                <a:lnTo>
                  <a:pt x="7408069" y="2677945"/>
                </a:lnTo>
                <a:lnTo>
                  <a:pt x="7408069" y="4329113"/>
                </a:lnTo>
                <a:lnTo>
                  <a:pt x="0" y="432911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38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92C563-ED97-46A2-B830-B18D61C8C793}"/>
              </a:ext>
            </a:extLst>
          </p:cNvPr>
          <p:cNvSpPr/>
          <p:nvPr userDrawn="1"/>
        </p:nvSpPr>
        <p:spPr>
          <a:xfrm>
            <a:off x="7405181" y="3500505"/>
            <a:ext cx="1738820" cy="16501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sp>
        <p:nvSpPr>
          <p:cNvPr id="17" name="ADP MAS Executive Overview…">
            <a:extLst>
              <a:ext uri="{FF2B5EF4-FFF2-40B4-BE49-F238E27FC236}">
                <a16:creationId xmlns:a16="http://schemas.microsoft.com/office/drawing/2014/main" id="{E0588020-457D-480D-804A-A1838F6E80FE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384048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3840480" cy="246221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" descr="Picture 1">
            <a:extLst>
              <a:ext uri="{FF2B5EF4-FFF2-40B4-BE49-F238E27FC236}">
                <a16:creationId xmlns:a16="http://schemas.microsoft.com/office/drawing/2014/main" id="{42BD9E4D-B0E5-4912-85C8-231F50F0A8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" t="28821" r="17436" b="-1"/>
          <a:stretch/>
        </p:blipFill>
        <p:spPr>
          <a:xfrm>
            <a:off x="6108701" y="821534"/>
            <a:ext cx="3035299" cy="2218771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A59F4C6-C611-4359-81BA-7C6F65AA7725}"/>
              </a:ext>
            </a:extLst>
          </p:cNvPr>
          <p:cNvCxnSpPr>
            <a:cxnSpLocks/>
          </p:cNvCxnSpPr>
          <p:nvPr userDrawn="1"/>
        </p:nvCxnSpPr>
        <p:spPr>
          <a:xfrm flipV="1">
            <a:off x="5038920" y="-10883"/>
            <a:ext cx="0" cy="351138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200E9DC-7BD1-453C-A0E2-41740EF4F503}"/>
              </a:ext>
            </a:extLst>
          </p:cNvPr>
          <p:cNvCxnSpPr>
            <a:cxnSpLocks/>
          </p:cNvCxnSpPr>
          <p:nvPr userDrawn="1"/>
        </p:nvCxnSpPr>
        <p:spPr>
          <a:xfrm>
            <a:off x="1" y="821531"/>
            <a:ext cx="915488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B755E4-B0A7-49C2-822E-A31A407F5401}"/>
              </a:ext>
            </a:extLst>
          </p:cNvPr>
          <p:cNvCxnSpPr>
            <a:cxnSpLocks/>
          </p:cNvCxnSpPr>
          <p:nvPr userDrawn="1"/>
        </p:nvCxnSpPr>
        <p:spPr>
          <a:xfrm>
            <a:off x="5038922" y="3500504"/>
            <a:ext cx="411596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27E75DC-2976-4BBD-9F57-B862046265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6136" y="4325115"/>
            <a:ext cx="868680" cy="6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2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FAC8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1C7711C5-1D48-42B9-BBEE-B5A786264949}"/>
              </a:ext>
            </a:extLst>
          </p:cNvPr>
          <p:cNvSpPr/>
          <p:nvPr userDrawn="1"/>
        </p:nvSpPr>
        <p:spPr>
          <a:xfrm>
            <a:off x="7364782" y="3852902"/>
            <a:ext cx="1518217" cy="1290601"/>
          </a:xfrm>
          <a:prstGeom prst="rect">
            <a:avLst/>
          </a:prstGeom>
          <a:solidFill>
            <a:srgbClr val="FAC8BF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FE1674A3-80F2-4664-B5FB-3500016F93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107" t="22250"/>
          <a:stretch/>
        </p:blipFill>
        <p:spPr>
          <a:xfrm>
            <a:off x="5974733" y="2567587"/>
            <a:ext cx="1896097" cy="2184398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502920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5029200" cy="246221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C139F-0E9B-4F68-B95A-8866E206B551}"/>
              </a:ext>
            </a:extLst>
          </p:cNvPr>
          <p:cNvSpPr/>
          <p:nvPr userDrawn="1"/>
        </p:nvSpPr>
        <p:spPr>
          <a:xfrm>
            <a:off x="7429502" y="1285876"/>
            <a:ext cx="1453497" cy="12906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7AB049-7E6B-45C6-B2FC-46FA7318586C}"/>
              </a:ext>
            </a:extLst>
          </p:cNvPr>
          <p:cNvCxnSpPr>
            <a:cxnSpLocks/>
          </p:cNvCxnSpPr>
          <p:nvPr userDrawn="1"/>
        </p:nvCxnSpPr>
        <p:spPr>
          <a:xfrm flipV="1">
            <a:off x="8882997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7DAD3B1-CCC5-43E5-91D8-A211DB6C9D64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91C2931-69DB-4ECC-B6D8-4D6714D513FE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2571750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463A60-4D83-4073-B463-A9876025A7DF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1285875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Line">
            <a:extLst>
              <a:ext uri="{FF2B5EF4-FFF2-40B4-BE49-F238E27FC236}">
                <a16:creationId xmlns:a16="http://schemas.microsoft.com/office/drawing/2014/main" id="{27C52C81-55DD-4A59-92B7-704E0A01DCE1}"/>
              </a:ext>
            </a:extLst>
          </p:cNvPr>
          <p:cNvSpPr/>
          <p:nvPr userDrawn="1"/>
        </p:nvSpPr>
        <p:spPr>
          <a:xfrm flipH="1" flipV="1">
            <a:off x="7429500" y="-2"/>
            <a:ext cx="0" cy="257648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E352F56-6B00-49BC-9732-9412C6D660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3528" y="1572771"/>
            <a:ext cx="1005840" cy="71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53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833C490-91D6-430B-A8BA-1AAE1518B145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rgbClr val="FAC8BF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124652-AF79-4F01-8912-AA21FE289079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tx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3E3EF7F-F48F-4BB9-B9F9-94617DE72B71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6" name="Line">
            <a:extLst>
              <a:ext uri="{FF2B5EF4-FFF2-40B4-BE49-F238E27FC236}">
                <a16:creationId xmlns:a16="http://schemas.microsoft.com/office/drawing/2014/main" id="{6AD571E7-C132-4C78-8BEC-CCBB64706D52}"/>
              </a:ext>
            </a:extLst>
          </p:cNvPr>
          <p:cNvSpPr/>
          <p:nvPr userDrawn="1"/>
        </p:nvSpPr>
        <p:spPr>
          <a:xfrm>
            <a:off x="2" y="3720688"/>
            <a:ext cx="914400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-1"/>
            <a:ext cx="0" cy="5135707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64008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443AF-8E7F-41D8-909C-458D3A7F86B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D4D293-8D99-4116-A088-D7C8CF4F403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" descr="Picture 1">
            <a:extLst>
              <a:ext uri="{FF2B5EF4-FFF2-40B4-BE49-F238E27FC236}">
                <a16:creationId xmlns:a16="http://schemas.microsoft.com/office/drawing/2014/main" id="{65191009-6F43-4BEF-968F-333A220DAC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227" t="6406" r="5280"/>
          <a:stretch/>
        </p:blipFill>
        <p:spPr>
          <a:xfrm>
            <a:off x="7430522" y="1"/>
            <a:ext cx="1713473" cy="28607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9965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6923CBE-4A1D-4F64-BA89-BF0D7E38C500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rgbClr val="FAC8BF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0A38496-4CCE-4D73-953A-FBF333A58AFE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tx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E5784-AF0B-4478-8E38-FCD1D94703B0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43B87E-BB4D-4AB6-8508-39BAF6FF3A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9139235" cy="2571751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2571753"/>
            <a:ext cx="0" cy="2563955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2851731"/>
            <a:ext cx="6400800" cy="553998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A900D89B-DEC4-45ED-8F65-47C9835B3647}"/>
              </a:ext>
            </a:extLst>
          </p:cNvPr>
          <p:cNvSpPr/>
          <p:nvPr userDrawn="1"/>
        </p:nvSpPr>
        <p:spPr>
          <a:xfrm>
            <a:off x="-4761" y="2571750"/>
            <a:ext cx="91440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3051AE-C571-4BC0-A87A-F8A8B0ED093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0646B5-41E5-488B-B6E8-453CDC67A4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19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833C490-91D6-430B-A8BA-1AAE1518B145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124652-AF79-4F01-8912-AA21FE289079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3E3EF7F-F48F-4BB9-B9F9-94617DE72B71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6" name="Line">
            <a:extLst>
              <a:ext uri="{FF2B5EF4-FFF2-40B4-BE49-F238E27FC236}">
                <a16:creationId xmlns:a16="http://schemas.microsoft.com/office/drawing/2014/main" id="{6AD571E7-C132-4C78-8BEC-CCBB64706D52}"/>
              </a:ext>
            </a:extLst>
          </p:cNvPr>
          <p:cNvSpPr/>
          <p:nvPr userDrawn="1"/>
        </p:nvSpPr>
        <p:spPr>
          <a:xfrm>
            <a:off x="2" y="3720688"/>
            <a:ext cx="914400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-1"/>
            <a:ext cx="0" cy="5135707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8AC6D1-6ABB-40AC-88F9-0AB88141E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6145" r="5001"/>
          <a:stretch/>
        </p:blipFill>
        <p:spPr>
          <a:xfrm>
            <a:off x="7436274" y="3"/>
            <a:ext cx="1707727" cy="2862761"/>
          </a:xfrm>
          <a:prstGeom prst="rect">
            <a:avLst/>
          </a:prstGeom>
        </p:spPr>
      </p:pic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64008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443AF-8E7F-41D8-909C-458D3A7F86B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D4D293-8D99-4116-A088-D7C8CF4F403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19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C">
    <p:bg>
      <p:bgPr>
        <a:solidFill>
          <a:srgbClr val="FAC8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" descr="Picture 1">
            <a:extLst>
              <a:ext uri="{FF2B5EF4-FFF2-40B4-BE49-F238E27FC236}">
                <a16:creationId xmlns:a16="http://schemas.microsoft.com/office/drawing/2014/main" id="{F0BD883B-3439-4295-8213-9F8B9042D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6003" y="2865402"/>
            <a:ext cx="1454519" cy="1938505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6EBFF5-352E-4C6E-BC5F-C3EE9E927588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50292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B2FD5B-1BE7-4335-8286-FC2F5A1E31FD}"/>
              </a:ext>
            </a:extLst>
          </p:cNvPr>
          <p:cNvCxnSpPr/>
          <p:nvPr userDrawn="1"/>
        </p:nvCxnSpPr>
        <p:spPr>
          <a:xfrm flipV="1">
            <a:off x="7430520" y="-12242"/>
            <a:ext cx="0" cy="5162887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6E005-29E7-4E49-9534-044C22D8F1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74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39788B-0B1B-4E6E-A269-5D537DCAA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50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B35089-F984-455C-8EC7-8C2FB5250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7F8A90D-461F-4AD7-89B6-03D474E313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3309074-2222-4B4E-AA54-75A86715BF4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6CE136E-28C9-4658-87D6-8DC75128657B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9D3A32EE-31CC-402C-BC8F-0A45C5C35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02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D186E4-CCFD-41FC-B2EE-05D516B2FF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86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7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D6D7C7-4C7F-4436-81C4-A8013D3C49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4DEAE15-3C1A-4492-9489-C1BDD96F9D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37F9629-796A-4B11-80F1-082E52FE0A26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C6BB5B10-7AC6-4D4C-9398-EBC3DAD9ADC2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A9034E5B-6976-4800-BAF5-ADD2CC88B2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9757BDE-0409-49EB-9405-B6E8618BA84F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7F55FEB-5344-4114-9B20-AD834CC4D5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50250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673E619-3BCC-4E72-9E39-ED21D941E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58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E8949D5-1BB3-4C23-9480-7E17D170AB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6" y="1435607"/>
            <a:ext cx="7498081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8ABF3E-1B07-45DE-A9CC-499D6A046A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43A54F8-84C7-4546-906B-4DE5CFEDDA48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6" name="Line">
            <a:extLst>
              <a:ext uri="{FF2B5EF4-FFF2-40B4-BE49-F238E27FC236}">
                <a16:creationId xmlns:a16="http://schemas.microsoft.com/office/drawing/2014/main" id="{F229DDF5-D6D0-4B5E-B26F-E2762A20123D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206133B1-C7AD-4731-9021-E32C77ADB9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834A68-4A9F-4E92-B7D6-72380D84B7EA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663C781-7414-48B0-A672-8456FEAD2F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1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8645C3-5443-4118-A87D-0F14008F0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659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0FA6619-6A8E-4654-9BC3-BE32FEE5B2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6" y="1435607"/>
            <a:ext cx="7498081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FB359E-E884-41AC-9961-DFF980592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709BBD1-0A16-4792-8B2F-D1E026587FB6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8" name="Line">
            <a:extLst>
              <a:ext uri="{FF2B5EF4-FFF2-40B4-BE49-F238E27FC236}">
                <a16:creationId xmlns:a16="http://schemas.microsoft.com/office/drawing/2014/main" id="{CBEB9182-C912-4E66-8D69-1C06EE579010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54158E97-3B44-4368-9145-524FFB43FA9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FCFF005-60D7-47BB-BFF3-D2027EED6AAC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3D329BC1-E9D3-431F-BCF1-804D4D91D4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22863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454122-DDD8-4E3E-B34E-17D0684FB8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2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8E7266-DF32-4B41-9FE1-54EBC98DF4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0"/>
            <a:ext cx="0" cy="398937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386C67B-5920-44CA-9FE3-4458EC00D9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220BC83-3116-4DFA-B680-2A7FEEABF469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326D397C-BDF4-4CB6-AB8B-7880F5BBB1A7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3D0E599-F437-47E1-A62B-C4732CBEF57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C21A70B-07B6-4014-92CC-6C8D125737A4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18E529FB-69D6-4311-B5D5-B834B61C18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66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AA7CDB-BB58-4131-BE0E-74E1607C42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1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A11DFE-ED3F-4C6F-A88B-C764BB03FA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0"/>
            <a:ext cx="0" cy="398937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4035954-C4AB-4A21-BCB8-243AA588B5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CE30EFC-F206-493F-ABCB-68F0A8413736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0F566B92-C3FD-44AD-90A4-11104C95C8AE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524326A-FFF7-494F-B7ED-890E250F24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36435BD-C742-4FD4-91D8-1EBE1DACF7E8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07DF94D0-DA1E-4F77-9523-338A571523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88026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05B8B-ACE2-401B-A216-218AEC3247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50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3393BA5-4657-486A-88BF-DF33268C5B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C0CB8F-8E22-48DB-8BEF-228A24537419}"/>
              </a:ext>
            </a:extLst>
          </p:cNvPr>
          <p:cNvCxnSpPr>
            <a:cxnSpLocks/>
          </p:cNvCxnSpPr>
          <p:nvPr userDrawn="1"/>
        </p:nvCxnSpPr>
        <p:spPr>
          <a:xfrm>
            <a:off x="2784347" y="1154130"/>
            <a:ext cx="0" cy="3989374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67A86DB-EF67-4F68-95D5-6FB09D173DF3}"/>
              </a:ext>
            </a:extLst>
          </p:cNvPr>
          <p:cNvCxnSpPr>
            <a:cxnSpLocks/>
          </p:cNvCxnSpPr>
          <p:nvPr userDrawn="1"/>
        </p:nvCxnSpPr>
        <p:spPr>
          <a:xfrm>
            <a:off x="5481827" y="1154130"/>
            <a:ext cx="0" cy="3989374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FA7EC80-0A2E-475A-81B1-4EFED45375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F98310C-0122-4B89-A3F6-F66560F776AE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21" name="Line">
            <a:extLst>
              <a:ext uri="{FF2B5EF4-FFF2-40B4-BE49-F238E27FC236}">
                <a16:creationId xmlns:a16="http://schemas.microsoft.com/office/drawing/2014/main" id="{3B66D087-D470-4A78-BB21-A9F732420A69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8B0636D6-4948-436F-8B5B-299DCBC6308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F00F735-70AA-4850-B005-0175B1A02DEE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69C02724-1C9B-4847-AE33-192DC37061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19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D0C04C-AA52-40F0-950E-22996436D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12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2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90455B-2871-48D2-81B3-55714A75D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C0CB8F-8E22-48DB-8BEF-228A24537419}"/>
              </a:ext>
            </a:extLst>
          </p:cNvPr>
          <p:cNvCxnSpPr>
            <a:cxnSpLocks/>
          </p:cNvCxnSpPr>
          <p:nvPr userDrawn="1"/>
        </p:nvCxnSpPr>
        <p:spPr>
          <a:xfrm>
            <a:off x="2784347" y="1154130"/>
            <a:ext cx="0" cy="3989374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67A86DB-EF67-4F68-95D5-6FB09D173DF3}"/>
              </a:ext>
            </a:extLst>
          </p:cNvPr>
          <p:cNvCxnSpPr>
            <a:cxnSpLocks/>
          </p:cNvCxnSpPr>
          <p:nvPr userDrawn="1"/>
        </p:nvCxnSpPr>
        <p:spPr>
          <a:xfrm>
            <a:off x="5481827" y="1154130"/>
            <a:ext cx="0" cy="3989374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69B8758-EB74-45E3-8BAC-6B2B705454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5E423F8-7205-48EE-AE2D-EF546A9FECE3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21" name="Line">
            <a:extLst>
              <a:ext uri="{FF2B5EF4-FFF2-40B4-BE49-F238E27FC236}">
                <a16:creationId xmlns:a16="http://schemas.microsoft.com/office/drawing/2014/main" id="{2EF46491-014E-4DE7-9283-577ED582B69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E855DEE5-3229-40D8-91FC-DE31F883876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F7DAD72-A300-4831-862F-CFA3C545F197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D8CC259-FD4E-4903-90CF-C920D151A0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319704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4"/>
            <a:ext cx="7498080" cy="15388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07CB27-C2CE-4C0F-9273-4268E13AAFA3}"/>
              </a:ext>
            </a:extLst>
          </p:cNvPr>
          <p:cNvCxnSpPr/>
          <p:nvPr userDrawn="1"/>
        </p:nvCxnSpPr>
        <p:spPr>
          <a:xfrm>
            <a:off x="240631" y="567922"/>
            <a:ext cx="0" cy="456778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91CB3F-1AA6-4C2A-80AF-61E30D1F2C2F}"/>
              </a:ext>
            </a:extLst>
          </p:cNvPr>
          <p:cNvCxnSpPr>
            <a:cxnSpLocks/>
          </p:cNvCxnSpPr>
          <p:nvPr userDrawn="1"/>
        </p:nvCxnSpPr>
        <p:spPr>
          <a:xfrm>
            <a:off x="1" y="567918"/>
            <a:ext cx="8161103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F56DEE-6AFE-41C5-A208-88CE538FD9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E7A3487-56BA-41F0-8C04-46C574112F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07" y="921820"/>
            <a:ext cx="5965764" cy="3809463"/>
          </a:xfrm>
          <a:prstGeom prst="rect">
            <a:avLst/>
          </a:prstGeom>
        </p:spPr>
      </p:pic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B2C67F1F-4AF7-4B88-B211-DF29FDD45CD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853441" y="1191027"/>
            <a:ext cx="4561009" cy="2882831"/>
          </a:xfrm>
          <a:ln w="6350">
            <a:solidFill>
              <a:schemeClr val="tx1">
                <a:lumMod val="40000"/>
                <a:lumOff val="6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E5B7052-5F16-4274-89AE-7FEC53207B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56DC21F-0E64-4A50-BC35-5FB45467ED08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8" name="Line">
            <a:extLst>
              <a:ext uri="{FF2B5EF4-FFF2-40B4-BE49-F238E27FC236}">
                <a16:creationId xmlns:a16="http://schemas.microsoft.com/office/drawing/2014/main" id="{22CD7F7A-4DFC-425A-BBE5-004797A526F2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8D387666-ABC6-461A-9113-F859248E50A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6234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B55A6BCB-A422-4507-AB9A-2B63293BCBE4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FC76F6F-980C-4175-84DC-A535E711E0E5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FE211F-6C54-4D68-AA75-09D0E2D830C0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43B87E-BB4D-4AB6-8508-39BAF6FF3A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9139235" cy="2571751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2571753"/>
            <a:ext cx="0" cy="2563955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2851731"/>
            <a:ext cx="6400800" cy="553998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A900D89B-DEC4-45ED-8F65-47C9835B3647}"/>
              </a:ext>
            </a:extLst>
          </p:cNvPr>
          <p:cNvSpPr/>
          <p:nvPr userDrawn="1"/>
        </p:nvSpPr>
        <p:spPr>
          <a:xfrm>
            <a:off x="-4761" y="2571750"/>
            <a:ext cx="91440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3051AE-C571-4BC0-A87A-F8A8B0ED093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0646B5-41E5-488B-B6E8-453CDC67A4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24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3A62F5-C13E-4B13-B99D-A71E9075B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76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4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2A2618-14D0-4896-BB8A-FD8BE9C05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06D0EE-44D8-4A16-91CE-EA0A32186EAC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66D3D96-4D27-46B9-9A5B-0DECBC5E6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9DB23D1-A70D-4E09-8E01-B572A0F799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8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3B4949-E5CE-4123-B3AA-EBFB29A98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062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EC2FFA-239E-40DB-945F-959553DE76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0E29C9E-5FE9-4CEB-92C0-C912B904C8E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8044B71-1324-47A7-A307-B75F43EB8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82" t="40522" r="20935" b="-1816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D97A7B5-5495-46D8-BDCD-0CBF2A2E4F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410715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19F5EA55-9330-4BA0-A923-00DB7201C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5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CF92C563-ED97-46A2-B830-B18D61C8C793}"/>
              </a:ext>
            </a:extLst>
          </p:cNvPr>
          <p:cNvSpPr/>
          <p:nvPr userDrawn="1"/>
        </p:nvSpPr>
        <p:spPr>
          <a:xfrm>
            <a:off x="7405181" y="3500505"/>
            <a:ext cx="1738820" cy="16501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C31F63B-DAB4-466D-80BC-025D86724A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5908" y="4325114"/>
            <a:ext cx="868681" cy="618908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2BFB32E-0672-4A3F-991A-E99D4EC2F5C0}"/>
              </a:ext>
            </a:extLst>
          </p:cNvPr>
          <p:cNvSpPr/>
          <p:nvPr userDrawn="1"/>
        </p:nvSpPr>
        <p:spPr>
          <a:xfrm>
            <a:off x="-1" y="821534"/>
            <a:ext cx="7408069" cy="4329113"/>
          </a:xfrm>
          <a:custGeom>
            <a:avLst/>
            <a:gdLst>
              <a:gd name="connsiteX0" fmla="*/ 0 w 7408069"/>
              <a:gd name="connsiteY0" fmla="*/ 0 h 4329113"/>
              <a:gd name="connsiteX1" fmla="*/ 5038919 w 7408069"/>
              <a:gd name="connsiteY1" fmla="*/ 0 h 4329113"/>
              <a:gd name="connsiteX2" fmla="*/ 5038919 w 7408069"/>
              <a:gd name="connsiteY2" fmla="*/ 2677945 h 4329113"/>
              <a:gd name="connsiteX3" fmla="*/ 7408069 w 7408069"/>
              <a:gd name="connsiteY3" fmla="*/ 2677945 h 4329113"/>
              <a:gd name="connsiteX4" fmla="*/ 7408069 w 7408069"/>
              <a:gd name="connsiteY4" fmla="*/ 4329113 h 4329113"/>
              <a:gd name="connsiteX5" fmla="*/ 0 w 7408069"/>
              <a:gd name="connsiteY5" fmla="*/ 4329113 h 432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069" h="4329113">
                <a:moveTo>
                  <a:pt x="0" y="0"/>
                </a:moveTo>
                <a:lnTo>
                  <a:pt x="5038919" y="0"/>
                </a:lnTo>
                <a:cubicBezTo>
                  <a:pt x="5038919" y="892648"/>
                  <a:pt x="5038919" y="1785297"/>
                  <a:pt x="5038919" y="2677945"/>
                </a:cubicBezTo>
                <a:lnTo>
                  <a:pt x="7408069" y="2677945"/>
                </a:lnTo>
                <a:lnTo>
                  <a:pt x="7408069" y="4329113"/>
                </a:lnTo>
                <a:lnTo>
                  <a:pt x="0" y="43291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38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EA16AE1-4218-4A41-9AF8-2830E7459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8" t="28595" r="17217"/>
          <a:stretch/>
        </p:blipFill>
        <p:spPr>
          <a:xfrm>
            <a:off x="6097816" y="821532"/>
            <a:ext cx="3046184" cy="221877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9992D2-8D38-4C02-9AC0-314875756EB6}"/>
              </a:ext>
            </a:extLst>
          </p:cNvPr>
          <p:cNvCxnSpPr>
            <a:cxnSpLocks/>
          </p:cNvCxnSpPr>
          <p:nvPr userDrawn="1"/>
        </p:nvCxnSpPr>
        <p:spPr>
          <a:xfrm flipV="1">
            <a:off x="5038920" y="-10883"/>
            <a:ext cx="0" cy="351138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1DCCCC-751C-4001-9138-B63D0A727059}"/>
              </a:ext>
            </a:extLst>
          </p:cNvPr>
          <p:cNvCxnSpPr>
            <a:cxnSpLocks/>
          </p:cNvCxnSpPr>
          <p:nvPr userDrawn="1"/>
        </p:nvCxnSpPr>
        <p:spPr>
          <a:xfrm>
            <a:off x="1" y="821531"/>
            <a:ext cx="915488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384048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3840480" cy="246221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P MAS Executive Overview…">
            <a:extLst>
              <a:ext uri="{FF2B5EF4-FFF2-40B4-BE49-F238E27FC236}">
                <a16:creationId xmlns:a16="http://schemas.microsoft.com/office/drawing/2014/main" id="{85F13DE9-B77A-4540-9B87-B822365A6900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13B064-78EF-4181-8F03-763A6CA7804A}"/>
              </a:ext>
            </a:extLst>
          </p:cNvPr>
          <p:cNvCxnSpPr>
            <a:cxnSpLocks/>
          </p:cNvCxnSpPr>
          <p:nvPr userDrawn="1"/>
        </p:nvCxnSpPr>
        <p:spPr>
          <a:xfrm>
            <a:off x="5038922" y="3500504"/>
            <a:ext cx="411596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957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1C7711C5-1D48-42B9-BBEE-B5A786264949}"/>
              </a:ext>
            </a:extLst>
          </p:cNvPr>
          <p:cNvSpPr/>
          <p:nvPr userDrawn="1"/>
        </p:nvSpPr>
        <p:spPr>
          <a:xfrm>
            <a:off x="7364782" y="3852902"/>
            <a:ext cx="1518217" cy="12906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502920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5029200" cy="246221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C139F-0E9B-4F68-B95A-8866E206B551}"/>
              </a:ext>
            </a:extLst>
          </p:cNvPr>
          <p:cNvSpPr/>
          <p:nvPr userDrawn="1"/>
        </p:nvSpPr>
        <p:spPr>
          <a:xfrm>
            <a:off x="7429502" y="1285876"/>
            <a:ext cx="1453497" cy="12906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7AB049-7E6B-45C6-B2FC-46FA7318586C}"/>
              </a:ext>
            </a:extLst>
          </p:cNvPr>
          <p:cNvCxnSpPr>
            <a:cxnSpLocks/>
          </p:cNvCxnSpPr>
          <p:nvPr userDrawn="1"/>
        </p:nvCxnSpPr>
        <p:spPr>
          <a:xfrm flipV="1">
            <a:off x="8882997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7DAD3B1-CCC5-43E5-91D8-A211DB6C9D64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91C2931-69DB-4ECC-B6D8-4D6714D513FE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2571750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463A60-4D83-4073-B463-A9876025A7DF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1285875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Line">
            <a:extLst>
              <a:ext uri="{FF2B5EF4-FFF2-40B4-BE49-F238E27FC236}">
                <a16:creationId xmlns:a16="http://schemas.microsoft.com/office/drawing/2014/main" id="{27C52C81-55DD-4A59-92B7-704E0A01DCE1}"/>
              </a:ext>
            </a:extLst>
          </p:cNvPr>
          <p:cNvSpPr/>
          <p:nvPr userDrawn="1"/>
        </p:nvSpPr>
        <p:spPr>
          <a:xfrm flipH="1" flipV="1">
            <a:off x="7429500" y="-2"/>
            <a:ext cx="0" cy="257648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9F9F0DE-0795-4EE8-9DDF-7F64344670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370" t="22568" r="283"/>
          <a:stretch/>
        </p:blipFill>
        <p:spPr>
          <a:xfrm>
            <a:off x="5975351" y="2576478"/>
            <a:ext cx="1887876" cy="218133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6D9496D-10C7-4837-B308-2360FF5F3D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3528" y="1572771"/>
            <a:ext cx="1005840" cy="71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33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833C490-91D6-430B-A8BA-1AAE1518B145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124652-AF79-4F01-8912-AA21FE289079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tx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3E3EF7F-F48F-4BB9-B9F9-94617DE72B71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rgbClr val="7D3520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6" name="Line">
            <a:extLst>
              <a:ext uri="{FF2B5EF4-FFF2-40B4-BE49-F238E27FC236}">
                <a16:creationId xmlns:a16="http://schemas.microsoft.com/office/drawing/2014/main" id="{6AD571E7-C132-4C78-8BEC-CCBB64706D52}"/>
              </a:ext>
            </a:extLst>
          </p:cNvPr>
          <p:cNvSpPr/>
          <p:nvPr userDrawn="1"/>
        </p:nvSpPr>
        <p:spPr>
          <a:xfrm>
            <a:off x="2" y="3720688"/>
            <a:ext cx="914400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-1"/>
            <a:ext cx="0" cy="5135707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64008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443AF-8E7F-41D8-909C-458D3A7F86B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D4D293-8D99-4116-A088-D7C8CF4F403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86F5A9-3669-4DD4-A735-918DF2A582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353" t="7015" r="5543"/>
          <a:stretch/>
        </p:blipFill>
        <p:spPr>
          <a:xfrm>
            <a:off x="7430521" y="2"/>
            <a:ext cx="1713481" cy="286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0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3D8BA9C-396A-47FF-AF0C-07DF783ED7D7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708E0D-458F-488C-AB53-F893D46C6B2F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tx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B664BB-98F9-4C83-A71D-718169E07BA5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rgbClr val="7D3520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43B87E-BB4D-4AB6-8508-39BAF6FF3A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9139235" cy="2571751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2571753"/>
            <a:ext cx="0" cy="2563955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2851731"/>
            <a:ext cx="6400800" cy="553998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A900D89B-DEC4-45ED-8F65-47C9835B3647}"/>
              </a:ext>
            </a:extLst>
          </p:cNvPr>
          <p:cNvSpPr/>
          <p:nvPr userDrawn="1"/>
        </p:nvSpPr>
        <p:spPr>
          <a:xfrm>
            <a:off x="-4761" y="2571750"/>
            <a:ext cx="91440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3051AE-C571-4BC0-A87A-F8A8B0ED093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0646B5-41E5-488B-B6E8-453CDC67A4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23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6EBFF5-352E-4C6E-BC5F-C3EE9E927588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1478F62-165D-4EFC-9AFA-4C5156C70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561" t="-983" r="104" b="-1"/>
          <a:stretch/>
        </p:blipFill>
        <p:spPr>
          <a:xfrm>
            <a:off x="5976005" y="2838450"/>
            <a:ext cx="1454516" cy="196465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29F52CB-4F4E-4E47-9F43-3CE7BE628519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996045-165B-4BA0-9D9A-EE86A8A1CCA7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tx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8FF408-CB71-459E-837C-9631B0F03675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rgbClr val="7D3520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:a16="http://schemas.microsoft.com/office/drawing/2014/main" id="{2A84AB9A-EA72-4873-830D-D31347B3E8C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50292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B2FD5B-1BE7-4335-8286-FC2F5A1E31FD}"/>
              </a:ext>
            </a:extLst>
          </p:cNvPr>
          <p:cNvCxnSpPr/>
          <p:nvPr userDrawn="1"/>
        </p:nvCxnSpPr>
        <p:spPr>
          <a:xfrm flipV="1">
            <a:off x="7430520" y="-12242"/>
            <a:ext cx="0" cy="5162887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6E005-29E7-4E49-9534-044C22D8F1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A728F6-E451-41A5-9ECE-83D1CD45FE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2" name="Line">
            <a:extLst>
              <a:ext uri="{FF2B5EF4-FFF2-40B4-BE49-F238E27FC236}">
                <a16:creationId xmlns:a16="http://schemas.microsoft.com/office/drawing/2014/main" id="{EA9FAD05-53BC-4B33-B071-14455C242E8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</p:spTree>
    <p:extLst>
      <p:ext uri="{BB962C8B-B14F-4D97-AF65-F5344CB8AC3E}">
        <p14:creationId xmlns:p14="http://schemas.microsoft.com/office/powerpoint/2010/main" val="1746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E2FAD6-3B2A-42E1-B27D-264915399D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67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7C4743-E12F-4BE7-A3CF-16BAE4F7EA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309074-2222-4B4E-AA54-75A86715BF4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E3893F-0A6D-4A12-86E1-004DEB2BED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23CB32D-6AD6-4D44-AD20-6148011F20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1546AC-554D-4C7F-97CC-1D8E608F52DD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76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35F34E-6DCC-47CA-BF92-8437AC60A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12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4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335CB5-1176-4CE6-9347-BEB885E44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8C3081-E0C1-4B29-A530-BEA667E90980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6" name="Line">
            <a:extLst>
              <a:ext uri="{FF2B5EF4-FFF2-40B4-BE49-F238E27FC236}">
                <a16:creationId xmlns:a16="http://schemas.microsoft.com/office/drawing/2014/main" id="{CC980C89-3B0C-437C-B17C-45ACBF46F87E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28EDE532-57EA-4B46-BBE7-A84B5B37CA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575B8E6-9F75-42B0-BD04-66DD587382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32DC5C8-95CF-4CC4-831A-EFD72918DAA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E4F21ED-56C0-4AB3-9820-B7F0ED0BA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325775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FD509-2012-4A4B-B2DD-7F9569D19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07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6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B07539-F1F6-453C-8818-6373D11F98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6" y="1435607"/>
            <a:ext cx="7498081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FEE1FCD-BFA4-432D-B7E2-0220DCEC5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DDFBE4-69D4-46D2-8F89-A1EB43B0F8F6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6" name="Line">
            <a:extLst>
              <a:ext uri="{FF2B5EF4-FFF2-40B4-BE49-F238E27FC236}">
                <a16:creationId xmlns:a16="http://schemas.microsoft.com/office/drawing/2014/main" id="{21C31070-8964-4038-8B98-6F2747561C73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4D9B208B-D0D3-42B5-89C8-AD693B4C1A5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039915-B376-4DF9-87C0-DAD54636C4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E98BAB-32FC-42A8-9E59-85920962B38D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4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10452A-ABD4-49A7-92DF-9FF1F0B85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87" t="-176" r="322"/>
          <a:stretch/>
        </p:blipFill>
        <p:spPr>
          <a:xfrm>
            <a:off x="5976004" y="2868843"/>
            <a:ext cx="1454517" cy="194413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6EBFF5-352E-4C6E-BC5F-C3EE9E927588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142C0E5-C013-4797-8D04-A08441270FC5}"/>
              </a:ext>
            </a:extLst>
          </p:cNvPr>
          <p:cNvSpPr/>
          <p:nvPr userDrawn="1"/>
        </p:nvSpPr>
        <p:spPr>
          <a:xfrm>
            <a:off x="218487" y="4757896"/>
            <a:ext cx="7352747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751EC3-E3E0-487F-832F-3B0DA0DB976E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D10E51-5BC6-483C-94BB-A6FBF1FDD52B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21916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50292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B2FD5B-1BE7-4335-8286-FC2F5A1E31FD}"/>
              </a:ext>
            </a:extLst>
          </p:cNvPr>
          <p:cNvCxnSpPr/>
          <p:nvPr userDrawn="1"/>
        </p:nvCxnSpPr>
        <p:spPr>
          <a:xfrm flipV="1">
            <a:off x="7430520" y="-12242"/>
            <a:ext cx="0" cy="5162887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8DD73D-4367-4428-B9B1-88CE4C0C334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6E005-29E7-4E49-9534-044C22D8F1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0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1436C4-163D-4D7C-AA1B-F3C5B9BC55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06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835F3A-3DA7-45BD-A361-B7E68E8C3D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6" y="1435607"/>
            <a:ext cx="7498081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981621-C2ED-4CF1-BED4-25A9940264C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6" name="Line">
            <a:extLst>
              <a:ext uri="{FF2B5EF4-FFF2-40B4-BE49-F238E27FC236}">
                <a16:creationId xmlns:a16="http://schemas.microsoft.com/office/drawing/2014/main" id="{D6166814-18DC-47C0-9801-E49205BA66F4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394F958-47BF-44ED-AFAF-B443CD569FD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F2683E5-189A-4443-92A8-34F1FD777E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7413D2-CCF6-40E6-9EE2-5D3C281B0F0F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36CAA2D-431A-42E0-9440-F03DF1F8A5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77631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16013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B0F2C5-EB7A-4773-AC2C-0CC5C75EBB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06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E10E96-F10D-4873-88A9-2B835D7C5C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4"/>
            <a:ext cx="0" cy="398936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A0F3CBD-C3C3-49F3-A605-743D99B036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7D39331-7098-4CB5-BC4A-68561D824B70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0365C950-7969-4D24-9BB6-3D51F9F2642D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AE29AC73-0312-4D7E-886D-708584FEDEC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D30C54B-5BDE-4BA2-8105-AEC25C918F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3533BF-9CE4-4D5A-A9BC-2AB948984CB0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23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83A9FC-37C3-419E-87D6-8E3E62201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881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3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3C01CF4-C696-4F16-ABF4-E2F37345BC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0"/>
            <a:ext cx="0" cy="398937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DE3DF3-FC9F-4E24-A7F2-4E8E5A0494C5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8" name="Line">
            <a:extLst>
              <a:ext uri="{FF2B5EF4-FFF2-40B4-BE49-F238E27FC236}">
                <a16:creationId xmlns:a16="http://schemas.microsoft.com/office/drawing/2014/main" id="{0F42BACD-2C9B-4DEE-81E1-7AEC1E0769E1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EABD3264-D06E-4ADC-B0FA-5854D599B95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47786D5-5F7F-4707-B375-604BA3807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678F8AF-E940-43D5-9099-43318FFA5737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A48F5C4-D489-4963-8A19-E88F8B9C3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80089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E60DAB-EAEE-431C-BA45-E61F3D2FC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791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6D9FD6A-F917-424C-AEE8-ABA8D57D5E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038B49E-3AD8-48A4-8D11-827D42812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70E2094-BB18-4CF7-BEF7-BEBAD26BB685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21" name="Line">
            <a:extLst>
              <a:ext uri="{FF2B5EF4-FFF2-40B4-BE49-F238E27FC236}">
                <a16:creationId xmlns:a16="http://schemas.microsoft.com/office/drawing/2014/main" id="{57B141A1-A19F-43A8-8F8D-F78CCE0E402B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7FEDC67-981C-4791-9049-0E1F60228A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63DD89B-A2B8-4C70-A348-C2B3CC05C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D022234-AE6B-43FA-96A1-A6DF62547422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8FB668-F53F-41C4-BB20-2918FA613B4E}"/>
              </a:ext>
            </a:extLst>
          </p:cNvPr>
          <p:cNvGrpSpPr/>
          <p:nvPr userDrawn="1"/>
        </p:nvGrpSpPr>
        <p:grpSpPr>
          <a:xfrm>
            <a:off x="2784347" y="1154132"/>
            <a:ext cx="2697480" cy="3989370"/>
            <a:chOff x="2784347" y="1227222"/>
            <a:chExt cx="2697480" cy="3916279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62D440D-7243-4FB7-A07C-65B1507AB1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36F9942-E282-4ABF-892D-A4D70DD1E3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078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CE49B4-1EED-40A1-BDB9-050D5E2F2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93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8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BABB4B-A858-4C25-A40E-F91D8D0938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C03F7C-84B3-4FE9-9264-BA3B86A12D2C}"/>
              </a:ext>
            </a:extLst>
          </p:cNvPr>
          <p:cNvGrpSpPr/>
          <p:nvPr userDrawn="1"/>
        </p:nvGrpSpPr>
        <p:grpSpPr>
          <a:xfrm>
            <a:off x="2784347" y="1154132"/>
            <a:ext cx="2697480" cy="3989370"/>
            <a:chOff x="2784347" y="1227222"/>
            <a:chExt cx="2697480" cy="391627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EC0CB8F-8E22-48DB-8BEF-228A245374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7A86DB-EF67-4F68-95D5-6FB09D173D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DC16761-BBED-4CA6-9E90-AD6A92C1922A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20" name="Line">
            <a:extLst>
              <a:ext uri="{FF2B5EF4-FFF2-40B4-BE49-F238E27FC236}">
                <a16:creationId xmlns:a16="http://schemas.microsoft.com/office/drawing/2014/main" id="{3DD639BD-C918-4BEF-991E-EA312306706B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B241579E-0184-4E27-ABEE-8A6FFF650F0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B47625-9BE2-4DCD-A70F-0CD96B251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C4982A7-82DF-4624-967E-166EE3E18AEB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47F8797-5ED7-43E5-B054-BF7734BB5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5166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4"/>
            <a:ext cx="7498080" cy="15388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07CB27-C2CE-4C0F-9273-4268E13AAFA3}"/>
              </a:ext>
            </a:extLst>
          </p:cNvPr>
          <p:cNvCxnSpPr/>
          <p:nvPr userDrawn="1"/>
        </p:nvCxnSpPr>
        <p:spPr>
          <a:xfrm>
            <a:off x="240631" y="567922"/>
            <a:ext cx="0" cy="456778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91CB3F-1AA6-4C2A-80AF-61E30D1F2C2F}"/>
              </a:ext>
            </a:extLst>
          </p:cNvPr>
          <p:cNvCxnSpPr>
            <a:cxnSpLocks/>
          </p:cNvCxnSpPr>
          <p:nvPr userDrawn="1"/>
        </p:nvCxnSpPr>
        <p:spPr>
          <a:xfrm>
            <a:off x="1" y="567918"/>
            <a:ext cx="8161103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F56DEE-6AFE-41C5-A208-88CE538FD9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66FCB4-336A-486F-87C3-6B863979B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07" y="921820"/>
            <a:ext cx="5965764" cy="3809463"/>
          </a:xfrm>
          <a:prstGeom prst="rect">
            <a:avLst/>
          </a:prstGeom>
        </p:spPr>
      </p:pic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113E523C-B21B-4777-94E3-0121EDA883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853441" y="1191027"/>
            <a:ext cx="4561009" cy="2882831"/>
          </a:xfrm>
          <a:ln w="6350">
            <a:solidFill>
              <a:schemeClr val="tx1">
                <a:lumMod val="40000"/>
                <a:lumOff val="6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651465-4E63-4DC2-90BC-D084E0BA04E4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13" dirty="0"/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1F651D20-C943-48DD-A4EA-DD873C08BDA1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308FA209-2F6E-4477-B422-B5BD722FABC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0C6E95A-47C5-4143-AF3B-94684489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58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D0DBFA-3A74-4E94-BD4A-8B7655A60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702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0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3666A3-BBA3-4999-9D82-C776FE439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7B4C6CB-D921-4A04-A8AD-60D3585DF5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A3BE3A-D99B-49D0-947C-89EADEC7FBF8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86DEA7E-DF99-4799-B188-D6B143A3F4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10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F1231-669A-440E-BC57-6147B205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81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F8C30D-A4F8-4451-9364-1774F34091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B80E51-09F2-4875-A1A3-8C9492D9A4D8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D7C9F0-9337-4F45-9A15-76799309AF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5" t="39671" r="20820" b="-1806"/>
          <a:stretch/>
        </p:blipFill>
        <p:spPr>
          <a:xfrm>
            <a:off x="8161103" y="1"/>
            <a:ext cx="982899" cy="1081040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3C0AB17-4264-4D72-808B-AC803E2231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115874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57C5E0-4C80-4B69-A148-F3C17F950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85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7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024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DP MAS Executive Overview…">
            <a:extLst>
              <a:ext uri="{FF2B5EF4-FFF2-40B4-BE49-F238E27FC236}">
                <a16:creationId xmlns:a16="http://schemas.microsoft.com/office/drawing/2014/main" id="{76CC430A-A83B-441F-9899-03072F69D0C4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DE31329D-88B6-45C4-8073-2C24DC944D7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E6FEA1-8E85-4A85-AD50-D9646BA957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C5E2C1-9E08-445E-ACF6-2A47115AF3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9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0064F7-AF22-40BE-9CA3-E37719D48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61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19B743-0187-4CB4-958A-0455FB6CF9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309074-2222-4B4E-AA54-75A86715BF4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C43802-EA1D-4F03-AF42-2091D5FAF9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CAC2F7-2AE2-47EA-A4F9-69B87B0A282C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2CA79A96-A46A-4043-8DE4-59AEF3E0EA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09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15FF45-D6DE-47A4-8D65-918493192A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910857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7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127F88-BC07-463A-8BC2-977CAC290F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50000"/>
              <a:alpha val="60000"/>
            </a:schemeClr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888" y="828589"/>
            <a:ext cx="5120972" cy="3431709"/>
          </a:xfr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buNone/>
              <a:defRPr sz="10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Lorem ipsum dolor sit amet, consectetuer adipiscing elit. </a:t>
            </a:r>
            <a:r>
              <a:rPr lang="en-US"/>
              <a:t>Maecenas porttitor congue massa. Fusce posuere, magna sed pulvinar </a:t>
            </a:r>
            <a:r>
              <a:rPr lang="en-US" dirty="0"/>
              <a:t>ultricies, purus lectus malesuada libero, sit </a:t>
            </a:r>
            <a:r>
              <a:rPr lang="en-US"/>
              <a:t>amet commodo.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Title, Compan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6E005-29E7-4E49-9534-044C22D8F1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C0EA8C8D-8745-4DF3-979D-E9826327AC4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4F1289-316D-4E4E-B594-9F5DD5D5B3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</p:spPr>
        <p:txBody>
          <a:bodyPr rIns="822960" anchor="ctr">
            <a:noAutofit/>
          </a:bodyPr>
          <a:lstStyle>
            <a:lvl1pPr algn="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insert picture</a:t>
            </a:r>
            <a:br>
              <a:rPr lang="en-US" dirty="0"/>
            </a:br>
            <a:r>
              <a:rPr lang="en-US" dirty="0"/>
              <a:t>Then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295016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ape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04F6B880-60E4-4DB3-B889-E0B61D5098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74488" y="1802529"/>
            <a:ext cx="1481024" cy="1547969"/>
          </a:xfrm>
          <a:custGeom>
            <a:avLst/>
            <a:gdLst>
              <a:gd name="connsiteX0" fmla="*/ 877620 w 1481024"/>
              <a:gd name="connsiteY0" fmla="*/ 79 h 1547969"/>
              <a:gd name="connsiteX1" fmla="*/ 1212432 w 1481024"/>
              <a:gd name="connsiteY1" fmla="*/ 141984 h 1547969"/>
              <a:gd name="connsiteX2" fmla="*/ 1410487 w 1481024"/>
              <a:gd name="connsiteY2" fmla="*/ 465529 h 1547969"/>
              <a:gd name="connsiteX3" fmla="*/ 1477911 w 1481024"/>
              <a:gd name="connsiteY3" fmla="*/ 919755 h 1547969"/>
              <a:gd name="connsiteX4" fmla="*/ 1473170 w 1481024"/>
              <a:gd name="connsiteY4" fmla="*/ 1035683 h 1547969"/>
              <a:gd name="connsiteX5" fmla="*/ 1096548 w 1481024"/>
              <a:gd name="connsiteY5" fmla="*/ 1465144 h 1547969"/>
              <a:gd name="connsiteX6" fmla="*/ 579812 w 1481024"/>
              <a:gd name="connsiteY6" fmla="*/ 1547347 h 1547969"/>
              <a:gd name="connsiteX7" fmla="*/ 96787 w 1481024"/>
              <a:gd name="connsiteY7" fmla="*/ 1248042 h 1547969"/>
              <a:gd name="connsiteX8" fmla="*/ 393 w 1481024"/>
              <a:gd name="connsiteY8" fmla="*/ 822797 h 1547969"/>
              <a:gd name="connsiteX9" fmla="*/ 261131 w 1481024"/>
              <a:gd name="connsiteY9" fmla="*/ 257912 h 1547969"/>
              <a:gd name="connsiteX10" fmla="*/ 748897 w 1481024"/>
              <a:gd name="connsiteY10" fmla="*/ 16571 h 1547969"/>
              <a:gd name="connsiteX11" fmla="*/ 877620 w 1481024"/>
              <a:gd name="connsiteY11" fmla="*/ 79 h 1547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81024" h="1547969">
                <a:moveTo>
                  <a:pt x="877620" y="79"/>
                </a:moveTo>
                <a:cubicBezTo>
                  <a:pt x="1001372" y="2475"/>
                  <a:pt x="1110901" y="58595"/>
                  <a:pt x="1212432" y="141984"/>
                </a:cubicBezTo>
                <a:cubicBezTo>
                  <a:pt x="1313567" y="228930"/>
                  <a:pt x="1381517" y="334846"/>
                  <a:pt x="1410487" y="465529"/>
                </a:cubicBezTo>
                <a:cubicBezTo>
                  <a:pt x="1439458" y="615181"/>
                  <a:pt x="1473170" y="764833"/>
                  <a:pt x="1477911" y="919755"/>
                </a:cubicBezTo>
                <a:cubicBezTo>
                  <a:pt x="1482651" y="958222"/>
                  <a:pt x="1482651" y="996689"/>
                  <a:pt x="1473170" y="1035683"/>
                </a:cubicBezTo>
                <a:cubicBezTo>
                  <a:pt x="1434718" y="1257527"/>
                  <a:pt x="1313567" y="1407180"/>
                  <a:pt x="1096548" y="1465144"/>
                </a:cubicBezTo>
                <a:cubicBezTo>
                  <a:pt x="927463" y="1513623"/>
                  <a:pt x="753637" y="1542605"/>
                  <a:pt x="579812" y="1547347"/>
                </a:cubicBezTo>
                <a:cubicBezTo>
                  <a:pt x="362793" y="1557359"/>
                  <a:pt x="183700" y="1446174"/>
                  <a:pt x="96787" y="1248042"/>
                </a:cubicBezTo>
                <a:cubicBezTo>
                  <a:pt x="34104" y="1112617"/>
                  <a:pt x="-4348" y="972450"/>
                  <a:pt x="393" y="822797"/>
                </a:cubicBezTo>
                <a:cubicBezTo>
                  <a:pt x="5133" y="595684"/>
                  <a:pt x="87305" y="402822"/>
                  <a:pt x="261131" y="257912"/>
                </a:cubicBezTo>
                <a:cubicBezTo>
                  <a:pt x="405986" y="141984"/>
                  <a:pt x="570330" y="59780"/>
                  <a:pt x="748897" y="16571"/>
                </a:cubicBezTo>
                <a:cubicBezTo>
                  <a:pt x="793538" y="4451"/>
                  <a:pt x="836369" y="-720"/>
                  <a:pt x="877620" y="79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44838902-57FB-4B8F-843C-0B8F6A10A2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6250" y="1737695"/>
            <a:ext cx="1437629" cy="1590425"/>
          </a:xfrm>
          <a:custGeom>
            <a:avLst/>
            <a:gdLst>
              <a:gd name="connsiteX0" fmla="*/ 721273 w 1437629"/>
              <a:gd name="connsiteY0" fmla="*/ 5 h 1590425"/>
              <a:gd name="connsiteX1" fmla="*/ 1413365 w 1437629"/>
              <a:gd name="connsiteY1" fmla="*/ 532277 h 1590425"/>
              <a:gd name="connsiteX2" fmla="*/ 1432882 w 1437629"/>
              <a:gd name="connsiteY2" fmla="*/ 634056 h 1590425"/>
              <a:gd name="connsiteX3" fmla="*/ 1437629 w 1437629"/>
              <a:gd name="connsiteY3" fmla="*/ 730560 h 1590425"/>
              <a:gd name="connsiteX4" fmla="*/ 1302070 w 1437629"/>
              <a:gd name="connsiteY4" fmla="*/ 1117106 h 1590425"/>
              <a:gd name="connsiteX5" fmla="*/ 1191301 w 1437629"/>
              <a:gd name="connsiteY5" fmla="*/ 1243142 h 1590425"/>
              <a:gd name="connsiteX6" fmla="*/ 281947 w 1437629"/>
              <a:gd name="connsiteY6" fmla="*/ 1508925 h 1590425"/>
              <a:gd name="connsiteX7" fmla="*/ 1862 w 1437629"/>
              <a:gd name="connsiteY7" fmla="*/ 779076 h 1590425"/>
              <a:gd name="connsiteX8" fmla="*/ 11356 w 1437629"/>
              <a:gd name="connsiteY8" fmla="*/ 609798 h 1590425"/>
              <a:gd name="connsiteX9" fmla="*/ 577329 w 1437629"/>
              <a:gd name="connsiteY9" fmla="*/ 15477 h 1590425"/>
              <a:gd name="connsiteX10" fmla="*/ 721273 w 1437629"/>
              <a:gd name="connsiteY10" fmla="*/ 5 h 159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37629" h="1590425">
                <a:moveTo>
                  <a:pt x="721273" y="5"/>
                </a:moveTo>
                <a:cubicBezTo>
                  <a:pt x="1049734" y="-1365"/>
                  <a:pt x="1320597" y="232349"/>
                  <a:pt x="1413365" y="532277"/>
                </a:cubicBezTo>
                <a:cubicBezTo>
                  <a:pt x="1423387" y="566028"/>
                  <a:pt x="1428134" y="600306"/>
                  <a:pt x="1432882" y="634056"/>
                </a:cubicBezTo>
                <a:cubicBezTo>
                  <a:pt x="1437629" y="667806"/>
                  <a:pt x="1437629" y="701556"/>
                  <a:pt x="1437629" y="730560"/>
                </a:cubicBezTo>
                <a:cubicBezTo>
                  <a:pt x="1437629" y="866089"/>
                  <a:pt x="1389629" y="1001090"/>
                  <a:pt x="1302070" y="1117106"/>
                </a:cubicBezTo>
                <a:cubicBezTo>
                  <a:pt x="1273586" y="1160876"/>
                  <a:pt x="1234554" y="1204118"/>
                  <a:pt x="1191301" y="1243142"/>
                </a:cubicBezTo>
                <a:cubicBezTo>
                  <a:pt x="944447" y="1421913"/>
                  <a:pt x="601065" y="1740958"/>
                  <a:pt x="281947" y="1508925"/>
                </a:cubicBezTo>
                <a:cubicBezTo>
                  <a:pt x="49861" y="1330154"/>
                  <a:pt x="35620" y="1030094"/>
                  <a:pt x="1862" y="779076"/>
                </a:cubicBezTo>
                <a:cubicBezTo>
                  <a:pt x="-2885" y="725814"/>
                  <a:pt x="1862" y="667806"/>
                  <a:pt x="11356" y="609798"/>
                </a:cubicBezTo>
                <a:cubicBezTo>
                  <a:pt x="49861" y="333995"/>
                  <a:pt x="262958" y="73485"/>
                  <a:pt x="577329" y="15477"/>
                </a:cubicBezTo>
                <a:cubicBezTo>
                  <a:pt x="626252" y="5194"/>
                  <a:pt x="674350" y="201"/>
                  <a:pt x="721273" y="5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5AD90298-1F9C-4F4B-A63A-9340A47040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074615" y="1799403"/>
            <a:ext cx="1343944" cy="1544696"/>
          </a:xfrm>
          <a:custGeom>
            <a:avLst/>
            <a:gdLst>
              <a:gd name="connsiteX0" fmla="*/ 608399 w 1343944"/>
              <a:gd name="connsiteY0" fmla="*/ 135 h 1544696"/>
              <a:gd name="connsiteX1" fmla="*/ 705129 w 1343944"/>
              <a:gd name="connsiteY1" fmla="*/ 4424 h 1544696"/>
              <a:gd name="connsiteX2" fmla="*/ 816326 w 1343944"/>
              <a:gd name="connsiteY2" fmla="*/ 4424 h 1544696"/>
              <a:gd name="connsiteX3" fmla="*/ 932267 w 1343944"/>
              <a:gd name="connsiteY3" fmla="*/ 9165 h 1544696"/>
              <a:gd name="connsiteX4" fmla="*/ 1033978 w 1343944"/>
              <a:gd name="connsiteY4" fmla="*/ 28655 h 1544696"/>
              <a:gd name="connsiteX5" fmla="*/ 1115663 w 1343944"/>
              <a:gd name="connsiteY5" fmla="*/ 77118 h 1544696"/>
              <a:gd name="connsiteX6" fmla="*/ 1139905 w 1343944"/>
              <a:gd name="connsiteY6" fmla="*/ 100822 h 1544696"/>
              <a:gd name="connsiteX7" fmla="*/ 1304330 w 1343944"/>
              <a:gd name="connsiteY7" fmla="*/ 400554 h 1544696"/>
              <a:gd name="connsiteX8" fmla="*/ 1342801 w 1343944"/>
              <a:gd name="connsiteY8" fmla="*/ 767185 h 1544696"/>
              <a:gd name="connsiteX9" fmla="*/ 1280088 w 1343944"/>
              <a:gd name="connsiteY9" fmla="*/ 1119594 h 1544696"/>
              <a:gd name="connsiteX10" fmla="*/ 1139905 w 1343944"/>
              <a:gd name="connsiteY10" fmla="*/ 1370863 h 1544696"/>
              <a:gd name="connsiteX11" fmla="*/ 1023965 w 1343944"/>
              <a:gd name="connsiteY11" fmla="*/ 1457780 h 1544696"/>
              <a:gd name="connsiteX12" fmla="*/ 869553 w 1343944"/>
              <a:gd name="connsiteY12" fmla="*/ 1506242 h 1544696"/>
              <a:gd name="connsiteX13" fmla="*/ 787341 w 1343944"/>
              <a:gd name="connsiteY13" fmla="*/ 1525206 h 1544696"/>
              <a:gd name="connsiteX14" fmla="*/ 613430 w 1343944"/>
              <a:gd name="connsiteY14" fmla="*/ 1544696 h 1544696"/>
              <a:gd name="connsiteX15" fmla="*/ 410534 w 1343944"/>
              <a:gd name="connsiteY15" fmla="*/ 1525206 h 1544696"/>
              <a:gd name="connsiteX16" fmla="*/ 241367 w 1343944"/>
              <a:gd name="connsiteY16" fmla="*/ 1438816 h 1544696"/>
              <a:gd name="connsiteX17" fmla="*/ 43214 w 1343944"/>
              <a:gd name="connsiteY17" fmla="*/ 1047427 h 1544696"/>
              <a:gd name="connsiteX18" fmla="*/ 9486 w 1343944"/>
              <a:gd name="connsiteY18" fmla="*/ 820389 h 1544696"/>
              <a:gd name="connsiteX19" fmla="*/ 0 w 1343944"/>
              <a:gd name="connsiteY19" fmla="*/ 574388 h 1544696"/>
              <a:gd name="connsiteX20" fmla="*/ 38471 w 1343944"/>
              <a:gd name="connsiteY20" fmla="*/ 342609 h 1544696"/>
              <a:gd name="connsiteX21" fmla="*/ 154411 w 1343944"/>
              <a:gd name="connsiteY21" fmla="*/ 154026 h 1544696"/>
              <a:gd name="connsiteX22" fmla="*/ 372063 w 1343944"/>
              <a:gd name="connsiteY22" fmla="*/ 28655 h 1544696"/>
              <a:gd name="connsiteX23" fmla="*/ 608399 w 1343944"/>
              <a:gd name="connsiteY23" fmla="*/ 135 h 154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43944" h="1544696">
                <a:moveTo>
                  <a:pt x="608399" y="135"/>
                </a:moveTo>
                <a:cubicBezTo>
                  <a:pt x="639155" y="572"/>
                  <a:pt x="671401" y="2053"/>
                  <a:pt x="705129" y="4424"/>
                </a:cubicBezTo>
                <a:cubicBezTo>
                  <a:pt x="738857" y="9165"/>
                  <a:pt x="777855" y="9165"/>
                  <a:pt x="816326" y="4424"/>
                </a:cubicBezTo>
                <a:cubicBezTo>
                  <a:pt x="860067" y="4424"/>
                  <a:pt x="893796" y="4424"/>
                  <a:pt x="932267" y="9165"/>
                </a:cubicBezTo>
                <a:cubicBezTo>
                  <a:pt x="965995" y="9165"/>
                  <a:pt x="999723" y="19173"/>
                  <a:pt x="1033978" y="28655"/>
                </a:cubicBezTo>
                <a:cubicBezTo>
                  <a:pt x="1062436" y="33396"/>
                  <a:pt x="1091948" y="52886"/>
                  <a:pt x="1115663" y="77118"/>
                </a:cubicBezTo>
                <a:lnTo>
                  <a:pt x="1139905" y="100822"/>
                </a:lnTo>
                <a:cubicBezTo>
                  <a:pt x="1217375" y="178257"/>
                  <a:pt x="1275345" y="279924"/>
                  <a:pt x="1304330" y="400554"/>
                </a:cubicBezTo>
                <a:cubicBezTo>
                  <a:pt x="1338058" y="521184"/>
                  <a:pt x="1347544" y="641814"/>
                  <a:pt x="1342801" y="767185"/>
                </a:cubicBezTo>
                <a:cubicBezTo>
                  <a:pt x="1338058" y="893083"/>
                  <a:pt x="1313816" y="1013713"/>
                  <a:pt x="1280088" y="1119594"/>
                </a:cubicBezTo>
                <a:cubicBezTo>
                  <a:pt x="1246360" y="1230742"/>
                  <a:pt x="1197876" y="1312918"/>
                  <a:pt x="1139905" y="1370863"/>
                </a:cubicBezTo>
                <a:cubicBezTo>
                  <a:pt x="1106177" y="1404576"/>
                  <a:pt x="1067706" y="1433548"/>
                  <a:pt x="1023965" y="1457780"/>
                </a:cubicBezTo>
                <a:cubicBezTo>
                  <a:pt x="980751" y="1482011"/>
                  <a:pt x="932267" y="1496760"/>
                  <a:pt x="869553" y="1506242"/>
                </a:cubicBezTo>
                <a:cubicBezTo>
                  <a:pt x="864810" y="1510983"/>
                  <a:pt x="840568" y="1515724"/>
                  <a:pt x="787341" y="1525206"/>
                </a:cubicBezTo>
                <a:cubicBezTo>
                  <a:pt x="738857" y="1535215"/>
                  <a:pt x="680887" y="1539955"/>
                  <a:pt x="613430" y="1544696"/>
                </a:cubicBezTo>
                <a:cubicBezTo>
                  <a:pt x="545974" y="1544696"/>
                  <a:pt x="482734" y="1539955"/>
                  <a:pt x="410534" y="1525206"/>
                </a:cubicBezTo>
                <a:cubicBezTo>
                  <a:pt x="343078" y="1510983"/>
                  <a:pt x="289851" y="1482011"/>
                  <a:pt x="241367" y="1438816"/>
                </a:cubicBezTo>
                <a:cubicBezTo>
                  <a:pt x="159154" y="1356640"/>
                  <a:pt x="96441" y="1226001"/>
                  <a:pt x="43214" y="1047427"/>
                </a:cubicBezTo>
                <a:cubicBezTo>
                  <a:pt x="33728" y="975259"/>
                  <a:pt x="18972" y="902565"/>
                  <a:pt x="9486" y="820389"/>
                </a:cubicBezTo>
                <a:cubicBezTo>
                  <a:pt x="4743" y="738213"/>
                  <a:pt x="0" y="656564"/>
                  <a:pt x="0" y="574388"/>
                </a:cubicBezTo>
                <a:cubicBezTo>
                  <a:pt x="4743" y="492212"/>
                  <a:pt x="14229" y="414777"/>
                  <a:pt x="38471" y="342609"/>
                </a:cubicBezTo>
                <a:cubicBezTo>
                  <a:pt x="62713" y="269915"/>
                  <a:pt x="101184" y="207230"/>
                  <a:pt x="154411" y="154026"/>
                </a:cubicBezTo>
                <a:cubicBezTo>
                  <a:pt x="212382" y="96082"/>
                  <a:pt x="280365" y="57627"/>
                  <a:pt x="372063" y="28655"/>
                </a:cubicBezTo>
                <a:cubicBezTo>
                  <a:pt x="437280" y="6926"/>
                  <a:pt x="516133" y="-1173"/>
                  <a:pt x="608399" y="135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5" name="Picture Placeholder 21">
            <a:extLst>
              <a:ext uri="{FF2B5EF4-FFF2-40B4-BE49-F238E27FC236}">
                <a16:creationId xmlns:a16="http://schemas.microsoft.com/office/drawing/2014/main" id="{DE3E66F6-0760-4E86-96ED-C0A86048C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9293" y="1746780"/>
            <a:ext cx="1032321" cy="1619482"/>
          </a:xfrm>
          <a:custGeom>
            <a:avLst/>
            <a:gdLst>
              <a:gd name="connsiteX0" fmla="*/ 574479 w 1032321"/>
              <a:gd name="connsiteY0" fmla="*/ 0 h 1619482"/>
              <a:gd name="connsiteX1" fmla="*/ 745081 w 1032321"/>
              <a:gd name="connsiteY1" fmla="*/ 19512 h 1619482"/>
              <a:gd name="connsiteX2" fmla="*/ 888411 w 1032321"/>
              <a:gd name="connsiteY2" fmla="*/ 96504 h 1619482"/>
              <a:gd name="connsiteX3" fmla="*/ 994602 w 1032321"/>
              <a:gd name="connsiteY3" fmla="*/ 251544 h 1619482"/>
              <a:gd name="connsiteX4" fmla="*/ 1032321 w 1032321"/>
              <a:gd name="connsiteY4" fmla="*/ 507307 h 1619482"/>
              <a:gd name="connsiteX5" fmla="*/ 1021295 w 1032321"/>
              <a:gd name="connsiteY5" fmla="*/ 667094 h 1619482"/>
              <a:gd name="connsiteX6" fmla="*/ 994602 w 1032321"/>
              <a:gd name="connsiteY6" fmla="*/ 850610 h 1619482"/>
              <a:gd name="connsiteX7" fmla="*/ 952242 w 1032321"/>
              <a:gd name="connsiteY7" fmla="*/ 1019889 h 1619482"/>
              <a:gd name="connsiteX8" fmla="*/ 904659 w 1032321"/>
              <a:gd name="connsiteY8" fmla="*/ 1208679 h 1619482"/>
              <a:gd name="connsiteX9" fmla="*/ 856495 w 1032321"/>
              <a:gd name="connsiteY9" fmla="*/ 1367937 h 1619482"/>
              <a:gd name="connsiteX10" fmla="*/ 824580 w 1032321"/>
              <a:gd name="connsiteY10" fmla="*/ 1430692 h 1619482"/>
              <a:gd name="connsiteX11" fmla="*/ 394011 w 1032321"/>
              <a:gd name="connsiteY11" fmla="*/ 1619482 h 1619482"/>
              <a:gd name="connsiteX12" fmla="*/ 255324 w 1032321"/>
              <a:gd name="connsiteY12" fmla="*/ 1570966 h 1619482"/>
              <a:gd name="connsiteX13" fmla="*/ 127662 w 1032321"/>
              <a:gd name="connsiteY13" fmla="*/ 1430692 h 1619482"/>
              <a:gd name="connsiteX14" fmla="*/ 37138 w 1032321"/>
              <a:gd name="connsiteY14" fmla="*/ 1184421 h 1619482"/>
              <a:gd name="connsiteX15" fmla="*/ 0 w 1032321"/>
              <a:gd name="connsiteY15" fmla="*/ 836372 h 1619482"/>
              <a:gd name="connsiteX16" fmla="*/ 11025 w 1032321"/>
              <a:gd name="connsiteY16" fmla="*/ 667094 h 1619482"/>
              <a:gd name="connsiteX17" fmla="*/ 37138 w 1032321"/>
              <a:gd name="connsiteY17" fmla="*/ 488323 h 1619482"/>
              <a:gd name="connsiteX18" fmla="*/ 95746 w 1032321"/>
              <a:gd name="connsiteY18" fmla="*/ 236779 h 1619482"/>
              <a:gd name="connsiteX19" fmla="*/ 191493 w 1032321"/>
              <a:gd name="connsiteY19" fmla="*/ 91758 h 1619482"/>
              <a:gd name="connsiteX20" fmla="*/ 340625 w 1032321"/>
              <a:gd name="connsiteY20" fmla="*/ 19512 h 1619482"/>
              <a:gd name="connsiteX21" fmla="*/ 574479 w 1032321"/>
              <a:gd name="connsiteY21" fmla="*/ 0 h 1619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2321" h="1619482">
                <a:moveTo>
                  <a:pt x="574479" y="0"/>
                </a:moveTo>
                <a:cubicBezTo>
                  <a:pt x="633087" y="0"/>
                  <a:pt x="686473" y="4746"/>
                  <a:pt x="745081" y="19512"/>
                </a:cubicBezTo>
                <a:cubicBezTo>
                  <a:pt x="797887" y="33750"/>
                  <a:pt x="846050" y="58008"/>
                  <a:pt x="888411" y="96504"/>
                </a:cubicBezTo>
                <a:cubicBezTo>
                  <a:pt x="930771" y="135528"/>
                  <a:pt x="968490" y="183517"/>
                  <a:pt x="994602" y="251544"/>
                </a:cubicBezTo>
                <a:cubicBezTo>
                  <a:pt x="1021295" y="314298"/>
                  <a:pt x="1032321" y="401311"/>
                  <a:pt x="1032321" y="507307"/>
                </a:cubicBezTo>
                <a:cubicBezTo>
                  <a:pt x="1032321" y="555823"/>
                  <a:pt x="1026518" y="609086"/>
                  <a:pt x="1021295" y="667094"/>
                </a:cubicBezTo>
                <a:cubicBezTo>
                  <a:pt x="1016073" y="720356"/>
                  <a:pt x="1005628" y="783110"/>
                  <a:pt x="994602" y="850610"/>
                </a:cubicBezTo>
                <a:cubicBezTo>
                  <a:pt x="984157" y="899126"/>
                  <a:pt x="973712" y="952388"/>
                  <a:pt x="952242" y="1019889"/>
                </a:cubicBezTo>
                <a:cubicBezTo>
                  <a:pt x="936574" y="1087389"/>
                  <a:pt x="920326" y="1150671"/>
                  <a:pt x="904659" y="1208679"/>
                </a:cubicBezTo>
                <a:cubicBezTo>
                  <a:pt x="888411" y="1271433"/>
                  <a:pt x="872743" y="1324695"/>
                  <a:pt x="856495" y="1367937"/>
                </a:cubicBezTo>
                <a:cubicBezTo>
                  <a:pt x="840828" y="1406434"/>
                  <a:pt x="829803" y="1430692"/>
                  <a:pt x="824580" y="1430692"/>
                </a:cubicBezTo>
                <a:cubicBezTo>
                  <a:pt x="659780" y="1556728"/>
                  <a:pt x="515870" y="1619482"/>
                  <a:pt x="394011" y="1619482"/>
                </a:cubicBezTo>
                <a:cubicBezTo>
                  <a:pt x="345848" y="1619482"/>
                  <a:pt x="298265" y="1599970"/>
                  <a:pt x="255324" y="1570966"/>
                </a:cubicBezTo>
                <a:cubicBezTo>
                  <a:pt x="207741" y="1541962"/>
                  <a:pt x="164800" y="1493446"/>
                  <a:pt x="127662" y="1430692"/>
                </a:cubicBezTo>
                <a:cubicBezTo>
                  <a:pt x="90524" y="1363191"/>
                  <a:pt x="63831" y="1285671"/>
                  <a:pt x="37138" y="1184421"/>
                </a:cubicBezTo>
                <a:cubicBezTo>
                  <a:pt x="11025" y="1082643"/>
                  <a:pt x="0" y="966627"/>
                  <a:pt x="0" y="836372"/>
                </a:cubicBezTo>
                <a:cubicBezTo>
                  <a:pt x="0" y="783110"/>
                  <a:pt x="5223" y="729848"/>
                  <a:pt x="11025" y="667094"/>
                </a:cubicBezTo>
                <a:cubicBezTo>
                  <a:pt x="21470" y="604339"/>
                  <a:pt x="31915" y="546331"/>
                  <a:pt x="37138" y="488323"/>
                </a:cubicBezTo>
                <a:cubicBezTo>
                  <a:pt x="53386" y="386545"/>
                  <a:pt x="74856" y="304806"/>
                  <a:pt x="95746" y="236779"/>
                </a:cubicBezTo>
                <a:cubicBezTo>
                  <a:pt x="122439" y="174024"/>
                  <a:pt x="149132" y="125508"/>
                  <a:pt x="191493" y="91758"/>
                </a:cubicBezTo>
                <a:cubicBezTo>
                  <a:pt x="228631" y="53262"/>
                  <a:pt x="282017" y="29004"/>
                  <a:pt x="340625" y="19512"/>
                </a:cubicBezTo>
                <a:cubicBezTo>
                  <a:pt x="404456" y="4746"/>
                  <a:pt x="478732" y="0"/>
                  <a:pt x="574479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43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2BFB32E-0672-4A3F-991A-E99D4EC2F5C0}"/>
              </a:ext>
            </a:extLst>
          </p:cNvPr>
          <p:cNvSpPr/>
          <p:nvPr userDrawn="1"/>
        </p:nvSpPr>
        <p:spPr>
          <a:xfrm>
            <a:off x="-1" y="821534"/>
            <a:ext cx="7408069" cy="4329113"/>
          </a:xfrm>
          <a:custGeom>
            <a:avLst/>
            <a:gdLst>
              <a:gd name="connsiteX0" fmla="*/ 0 w 7408069"/>
              <a:gd name="connsiteY0" fmla="*/ 0 h 4329113"/>
              <a:gd name="connsiteX1" fmla="*/ 5038919 w 7408069"/>
              <a:gd name="connsiteY1" fmla="*/ 0 h 4329113"/>
              <a:gd name="connsiteX2" fmla="*/ 5038919 w 7408069"/>
              <a:gd name="connsiteY2" fmla="*/ 2677945 h 4329113"/>
              <a:gd name="connsiteX3" fmla="*/ 7408069 w 7408069"/>
              <a:gd name="connsiteY3" fmla="*/ 2677945 h 4329113"/>
              <a:gd name="connsiteX4" fmla="*/ 7408069 w 7408069"/>
              <a:gd name="connsiteY4" fmla="*/ 4329113 h 4329113"/>
              <a:gd name="connsiteX5" fmla="*/ 0 w 7408069"/>
              <a:gd name="connsiteY5" fmla="*/ 4329113 h 432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069" h="4329113">
                <a:moveTo>
                  <a:pt x="0" y="0"/>
                </a:moveTo>
                <a:lnTo>
                  <a:pt x="5038919" y="0"/>
                </a:lnTo>
                <a:cubicBezTo>
                  <a:pt x="5038919" y="892648"/>
                  <a:pt x="5038919" y="1785297"/>
                  <a:pt x="5038919" y="2677945"/>
                </a:cubicBezTo>
                <a:lnTo>
                  <a:pt x="7408069" y="2677945"/>
                </a:lnTo>
                <a:lnTo>
                  <a:pt x="7408069" y="4329113"/>
                </a:lnTo>
                <a:lnTo>
                  <a:pt x="0" y="43291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38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92C563-ED97-46A2-B830-B18D61C8C793}"/>
              </a:ext>
            </a:extLst>
          </p:cNvPr>
          <p:cNvSpPr/>
          <p:nvPr userDrawn="1"/>
        </p:nvSpPr>
        <p:spPr>
          <a:xfrm>
            <a:off x="7405181" y="3500505"/>
            <a:ext cx="1738820" cy="16501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904C9-93C8-439E-85F3-FD5119FAF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021" r="16362"/>
          <a:stretch/>
        </p:blipFill>
        <p:spPr>
          <a:xfrm>
            <a:off x="6142395" y="821530"/>
            <a:ext cx="3001607" cy="2218772"/>
          </a:xfrm>
          <a:prstGeom prst="rect">
            <a:avLst/>
          </a:prstGeom>
        </p:spPr>
      </p:pic>
      <p:sp>
        <p:nvSpPr>
          <p:cNvPr id="17" name="ADP MAS Executive Overview…">
            <a:extLst>
              <a:ext uri="{FF2B5EF4-FFF2-40B4-BE49-F238E27FC236}">
                <a16:creationId xmlns:a16="http://schemas.microsoft.com/office/drawing/2014/main" id="{E0588020-457D-480D-804A-A1838F6E80FE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384048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3840480" cy="246221"/>
          </a:xfrm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690E10D-A3D3-4B6F-B508-A0AF44EF4961}"/>
              </a:ext>
            </a:extLst>
          </p:cNvPr>
          <p:cNvCxnSpPr>
            <a:cxnSpLocks/>
          </p:cNvCxnSpPr>
          <p:nvPr userDrawn="1"/>
        </p:nvCxnSpPr>
        <p:spPr>
          <a:xfrm flipV="1">
            <a:off x="5038920" y="-10883"/>
            <a:ext cx="0" cy="351138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BBBB79B-8184-4170-893C-D13D76677E08}"/>
              </a:ext>
            </a:extLst>
          </p:cNvPr>
          <p:cNvCxnSpPr>
            <a:cxnSpLocks/>
          </p:cNvCxnSpPr>
          <p:nvPr userDrawn="1"/>
        </p:nvCxnSpPr>
        <p:spPr>
          <a:xfrm>
            <a:off x="1" y="821531"/>
            <a:ext cx="915488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EDA9D25-F463-48E3-B373-D08B710BB28E}"/>
              </a:ext>
            </a:extLst>
          </p:cNvPr>
          <p:cNvCxnSpPr>
            <a:cxnSpLocks/>
          </p:cNvCxnSpPr>
          <p:nvPr userDrawn="1"/>
        </p:nvCxnSpPr>
        <p:spPr>
          <a:xfrm>
            <a:off x="5038922" y="3500504"/>
            <a:ext cx="4115967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9AFDCCB-B74C-4A15-9ED3-8EA34FB989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3463" y="4321969"/>
            <a:ext cx="863668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64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1C7711C5-1D48-42B9-BBEE-B5A786264949}"/>
              </a:ext>
            </a:extLst>
          </p:cNvPr>
          <p:cNvSpPr/>
          <p:nvPr userDrawn="1"/>
        </p:nvSpPr>
        <p:spPr>
          <a:xfrm>
            <a:off x="7364782" y="3852902"/>
            <a:ext cx="1518217" cy="12906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1133856"/>
            <a:ext cx="5029200" cy="1649682"/>
          </a:xfrm>
        </p:spPr>
        <p:txBody>
          <a:bodyPr/>
          <a:lstStyle>
            <a:lvl1pPr>
              <a:lnSpc>
                <a:spcPct val="90000"/>
              </a:lnSpc>
              <a:spcAft>
                <a:spcPts val="4800"/>
              </a:spcAft>
              <a:defRPr sz="48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4297453"/>
            <a:ext cx="5029200" cy="246221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C139F-0E9B-4F68-B95A-8866E206B551}"/>
              </a:ext>
            </a:extLst>
          </p:cNvPr>
          <p:cNvSpPr/>
          <p:nvPr userDrawn="1"/>
        </p:nvSpPr>
        <p:spPr>
          <a:xfrm>
            <a:off x="7429502" y="1285876"/>
            <a:ext cx="1453497" cy="12906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38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7AB049-7E6B-45C6-B2FC-46FA7318586C}"/>
              </a:ext>
            </a:extLst>
          </p:cNvPr>
          <p:cNvCxnSpPr>
            <a:cxnSpLocks/>
          </p:cNvCxnSpPr>
          <p:nvPr userDrawn="1"/>
        </p:nvCxnSpPr>
        <p:spPr>
          <a:xfrm flipV="1">
            <a:off x="8882997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7DAD3B1-CCC5-43E5-91D8-A211DB6C9D64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3"/>
            <a:ext cx="0" cy="51435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91C2931-69DB-4ECC-B6D8-4D6714D513FE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2571750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463A60-4D83-4073-B463-A9876025A7DF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6003" y="1285875"/>
            <a:ext cx="3167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4BBAE8CE-3937-405F-B62D-702FD7884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092" t="22116" r="-765"/>
          <a:stretch/>
        </p:blipFill>
        <p:spPr>
          <a:xfrm>
            <a:off x="5976006" y="2571750"/>
            <a:ext cx="1920847" cy="2185030"/>
          </a:xfrm>
          <a:prstGeom prst="rect">
            <a:avLst/>
          </a:prstGeom>
        </p:spPr>
      </p:pic>
      <p:sp>
        <p:nvSpPr>
          <p:cNvPr id="39" name="Line">
            <a:extLst>
              <a:ext uri="{FF2B5EF4-FFF2-40B4-BE49-F238E27FC236}">
                <a16:creationId xmlns:a16="http://schemas.microsoft.com/office/drawing/2014/main" id="{27C52C81-55DD-4A59-92B7-704E0A01DCE1}"/>
              </a:ext>
            </a:extLst>
          </p:cNvPr>
          <p:cNvSpPr/>
          <p:nvPr userDrawn="1"/>
        </p:nvSpPr>
        <p:spPr>
          <a:xfrm flipH="1" flipV="1">
            <a:off x="7429500" y="-2"/>
            <a:ext cx="0" cy="257648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A978305-C620-42C6-B81D-56434FBDA4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2087" y="1572863"/>
            <a:ext cx="1005840" cy="716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9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8980CE5-6410-41F6-A9EF-DAA48EB781B7}"/>
              </a:ext>
            </a:extLst>
          </p:cNvPr>
          <p:cNvSpPr/>
          <p:nvPr userDrawn="1"/>
        </p:nvSpPr>
        <p:spPr>
          <a:xfrm>
            <a:off x="2435702" y="4757896"/>
            <a:ext cx="5000575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6" name="Line">
            <a:extLst>
              <a:ext uri="{FF2B5EF4-FFF2-40B4-BE49-F238E27FC236}">
                <a16:creationId xmlns:a16="http://schemas.microsoft.com/office/drawing/2014/main" id="{6AD571E7-C132-4C78-8BEC-CCBB64706D52}"/>
              </a:ext>
            </a:extLst>
          </p:cNvPr>
          <p:cNvSpPr/>
          <p:nvPr userDrawn="1"/>
        </p:nvSpPr>
        <p:spPr>
          <a:xfrm>
            <a:off x="2" y="3720688"/>
            <a:ext cx="914400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-1"/>
            <a:ext cx="0" cy="5135707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8AC6D1-6ABB-40AC-88F9-0AB88141E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6145" r="5001"/>
          <a:stretch/>
        </p:blipFill>
        <p:spPr>
          <a:xfrm>
            <a:off x="7436274" y="3"/>
            <a:ext cx="1707727" cy="2862761"/>
          </a:xfrm>
          <a:prstGeom prst="rect">
            <a:avLst/>
          </a:prstGeom>
        </p:spPr>
      </p:pic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64008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6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75DEF8-BB8B-4142-B9C3-F821B5A8433B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08D9FE-31FF-4202-96DF-2A398E5F47A2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4FEC8B2D-42CD-4067-A7A2-A48E883964A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735035" y="4889146"/>
            <a:ext cx="11702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ADP MAS Executive Overview…">
            <a:extLst>
              <a:ext uri="{FF2B5EF4-FFF2-40B4-BE49-F238E27FC236}">
                <a16:creationId xmlns:a16="http://schemas.microsoft.com/office/drawing/2014/main" id="{908A0C43-2C86-4AEB-A680-453369E802E3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21" name="Footer Placeholder 16">
            <a:extLst>
              <a:ext uri="{FF2B5EF4-FFF2-40B4-BE49-F238E27FC236}">
                <a16:creationId xmlns:a16="http://schemas.microsoft.com/office/drawing/2014/main" id="{97599A03-E4F4-482B-9E5D-D862256387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601265" y="4889146"/>
            <a:ext cx="4720919" cy="123111"/>
          </a:xfrm>
        </p:spPr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22" name="Line">
            <a:extLst>
              <a:ext uri="{FF2B5EF4-FFF2-40B4-BE49-F238E27FC236}">
                <a16:creationId xmlns:a16="http://schemas.microsoft.com/office/drawing/2014/main" id="{0BA0689C-006A-43D5-920D-321E927714C6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05ACFD-71F8-44A4-9B85-EAE38EB4DB4A}"/>
              </a:ext>
            </a:extLst>
          </p:cNvPr>
          <p:cNvSpPr/>
          <p:nvPr userDrawn="1"/>
        </p:nvSpPr>
        <p:spPr>
          <a:xfrm>
            <a:off x="8156570" y="4757896"/>
            <a:ext cx="987433" cy="385604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E9AF36EE-034E-4B05-B0C9-B811CA5157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0165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4295FEC-52D2-4471-9483-1BD0A76C4E63}"/>
              </a:ext>
            </a:extLst>
          </p:cNvPr>
          <p:cNvSpPr/>
          <p:nvPr userDrawn="1"/>
        </p:nvSpPr>
        <p:spPr>
          <a:xfrm>
            <a:off x="2435702" y="4757896"/>
            <a:ext cx="5000575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43B87E-BB4D-4AB6-8508-39BAF6FF3A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9139235" cy="2571751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7429500" y="2571753"/>
            <a:ext cx="0" cy="2563955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2851731"/>
            <a:ext cx="6400800" cy="553998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6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A900D89B-DEC4-45ED-8F65-47C9835B3647}"/>
              </a:ext>
            </a:extLst>
          </p:cNvPr>
          <p:cNvSpPr/>
          <p:nvPr userDrawn="1"/>
        </p:nvSpPr>
        <p:spPr>
          <a:xfrm>
            <a:off x="-4761" y="2571750"/>
            <a:ext cx="91440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90E1DA7-2952-4F9F-B8E2-CD170B73B65D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E1519C6-F169-4270-8455-37C142C3FD28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Slide Number Placeholder 9">
            <a:extLst>
              <a:ext uri="{FF2B5EF4-FFF2-40B4-BE49-F238E27FC236}">
                <a16:creationId xmlns:a16="http://schemas.microsoft.com/office/drawing/2014/main" id="{69E0EF9D-22FB-4FD8-A6E9-48FF3D13913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735035" y="4889146"/>
            <a:ext cx="11702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ADP MAS Executive Overview…">
            <a:extLst>
              <a:ext uri="{FF2B5EF4-FFF2-40B4-BE49-F238E27FC236}">
                <a16:creationId xmlns:a16="http://schemas.microsoft.com/office/drawing/2014/main" id="{49933E2A-7233-409C-A441-6C7594DDF668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32" name="Footer Placeholder 16">
            <a:extLst>
              <a:ext uri="{FF2B5EF4-FFF2-40B4-BE49-F238E27FC236}">
                <a16:creationId xmlns:a16="http://schemas.microsoft.com/office/drawing/2014/main" id="{6D65A552-9FEB-470E-9026-2B7636C6EE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601265" y="4889146"/>
            <a:ext cx="4720919" cy="123111"/>
          </a:xfrm>
        </p:spPr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3" name="Line">
            <a:extLst>
              <a:ext uri="{FF2B5EF4-FFF2-40B4-BE49-F238E27FC236}">
                <a16:creationId xmlns:a16="http://schemas.microsoft.com/office/drawing/2014/main" id="{F6A759EC-1923-49EA-AC07-526C77062B4C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E9602FA-1535-4F5F-9D29-5BD1B3B97386}"/>
              </a:ext>
            </a:extLst>
          </p:cNvPr>
          <p:cNvSpPr/>
          <p:nvPr userDrawn="1"/>
        </p:nvSpPr>
        <p:spPr>
          <a:xfrm>
            <a:off x="8156570" y="4757896"/>
            <a:ext cx="987433" cy="385604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129DED28-1385-42CD-A104-07158B46AE5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697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DC0AD6D-B826-4385-AD5F-DA6B16059CD8}"/>
              </a:ext>
            </a:extLst>
          </p:cNvPr>
          <p:cNvSpPr/>
          <p:nvPr userDrawn="1"/>
        </p:nvSpPr>
        <p:spPr>
          <a:xfrm>
            <a:off x="2435702" y="4757896"/>
            <a:ext cx="5000575" cy="385604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4F9BF6-C876-4B64-BDA1-7DD9D82C6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747371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4F9BF6-C876-4B64-BDA1-7DD9D82C6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810452A-ABD4-49A7-92DF-9FF1F0B85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87" t="-176" r="322" b="2837"/>
          <a:stretch/>
        </p:blipFill>
        <p:spPr>
          <a:xfrm>
            <a:off x="5976004" y="2868846"/>
            <a:ext cx="1454517" cy="188905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6EBFF5-352E-4C6E-BC5F-C3EE9E927588}"/>
              </a:ext>
            </a:extLst>
          </p:cNvPr>
          <p:cNvCxnSpPr>
            <a:cxnSpLocks/>
          </p:cNvCxnSpPr>
          <p:nvPr userDrawn="1"/>
        </p:nvCxnSpPr>
        <p:spPr>
          <a:xfrm flipV="1">
            <a:off x="5976003" y="4"/>
            <a:ext cx="0" cy="4757895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583342"/>
            <a:ext cx="5029200" cy="55399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3600"/>
              </a:spcAft>
              <a:defRPr sz="3600">
                <a:solidFill>
                  <a:schemeClr val="accent6"/>
                </a:solidFill>
              </a:defRPr>
            </a:lvl1pPr>
            <a:lvl2pPr marL="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B2FD5B-1BE7-4335-8286-FC2F5A1E31FD}"/>
              </a:ext>
            </a:extLst>
          </p:cNvPr>
          <p:cNvCxnSpPr/>
          <p:nvPr userDrawn="1"/>
        </p:nvCxnSpPr>
        <p:spPr>
          <a:xfrm flipV="1">
            <a:off x="7430520" y="-12242"/>
            <a:ext cx="0" cy="5162887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CBCCF98-1307-46B1-A04F-4AB953C1F929}"/>
              </a:ext>
            </a:extLst>
          </p:cNvPr>
          <p:cNvSpPr/>
          <p:nvPr userDrawn="1"/>
        </p:nvSpPr>
        <p:spPr>
          <a:xfrm>
            <a:off x="1" y="4757896"/>
            <a:ext cx="2435699" cy="385604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F46E81-006A-46CA-84CB-44744DA6ABE4}"/>
              </a:ext>
            </a:extLst>
          </p:cNvPr>
          <p:cNvSpPr/>
          <p:nvPr userDrawn="1"/>
        </p:nvSpPr>
        <p:spPr>
          <a:xfrm>
            <a:off x="7430522" y="4757896"/>
            <a:ext cx="726049" cy="3856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Slide Number Placeholder 9">
            <a:extLst>
              <a:ext uri="{FF2B5EF4-FFF2-40B4-BE49-F238E27FC236}">
                <a16:creationId xmlns:a16="http://schemas.microsoft.com/office/drawing/2014/main" id="{0F12F076-FEC5-4AFF-BB2F-2B1A58A16F7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735035" y="4889146"/>
            <a:ext cx="11702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ADP MAS Executive Overview…">
            <a:extLst>
              <a:ext uri="{FF2B5EF4-FFF2-40B4-BE49-F238E27FC236}">
                <a16:creationId xmlns:a16="http://schemas.microsoft.com/office/drawing/2014/main" id="{395D872A-0F12-40CF-9BF7-4E7840D3BD56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bg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bg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bg1"/>
                </a:solidFill>
                <a:latin typeface="+mn-lt"/>
              </a:rPr>
              <a:t>ADP </a:t>
            </a:r>
            <a:r>
              <a:rPr sz="600" dirty="0">
                <a:solidFill>
                  <a:schemeClr val="bg1"/>
                </a:solidFill>
                <a:latin typeface="+mn-lt"/>
              </a:rPr>
              <a:t>Confidential.</a:t>
            </a:r>
          </a:p>
        </p:txBody>
      </p:sp>
      <p:sp>
        <p:nvSpPr>
          <p:cNvPr id="32" name="Footer Placeholder 16">
            <a:extLst>
              <a:ext uri="{FF2B5EF4-FFF2-40B4-BE49-F238E27FC236}">
                <a16:creationId xmlns:a16="http://schemas.microsoft.com/office/drawing/2014/main" id="{27083D94-CBEE-4101-A1C7-0B463B2090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601265" y="4889146"/>
            <a:ext cx="4720919" cy="123111"/>
          </a:xfrm>
        </p:spPr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3" name="Line">
            <a:extLst>
              <a:ext uri="{FF2B5EF4-FFF2-40B4-BE49-F238E27FC236}">
                <a16:creationId xmlns:a16="http://schemas.microsoft.com/office/drawing/2014/main" id="{FC48C598-B753-43C1-ACA3-0A9C1BB3269B}"/>
              </a:ext>
            </a:extLst>
          </p:cNvPr>
          <p:cNvSpPr/>
          <p:nvPr userDrawn="1"/>
        </p:nvSpPr>
        <p:spPr>
          <a:xfrm>
            <a:off x="1" y="4757896"/>
            <a:ext cx="9144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E75DF86-0B4B-4D83-B0A7-27109DD011AF}"/>
              </a:ext>
            </a:extLst>
          </p:cNvPr>
          <p:cNvSpPr/>
          <p:nvPr userDrawn="1"/>
        </p:nvSpPr>
        <p:spPr>
          <a:xfrm>
            <a:off x="8156570" y="4757896"/>
            <a:ext cx="987433" cy="385604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A53DAA04-A15A-4EE3-9AC3-45A5AC0D67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6369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95B5B7-FF3E-44A4-9728-1CB0C2636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00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95B5B7-FF3E-44A4-9728-1CB0C2636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9AFBEC-92CD-4AE9-B111-F2899D6123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BB0C17-D512-4195-A34E-8C64C3D32335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1B7A29-A7EE-464E-8138-E22BF6D85D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3C49685-7A39-45E4-A219-83AA834B0EBF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995EC8E-9213-4F78-8346-24733B820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Headline in sentence case</a:t>
            </a:r>
            <a:r>
              <a:rPr lang="en-US"/>
              <a:t>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90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C2DCB9-D346-458A-8B20-B978D2C0D8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73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C2DCB9-D346-458A-8B20-B978D2C0D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C9BE415-1496-4997-B316-91A98863EA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309074-2222-4B4E-AA54-75A86715BF4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2BA9A4-3264-49AB-95CB-510AF1CA13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A07A96-3580-4421-988A-666AF0C016CC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8E4CB9-633A-45D6-A2EE-1047A62B6F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B88D10-4521-467B-A97E-DFD8CEC27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33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B88D10-4521-467B-A97E-DFD8CEC27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49C5F0-DEC6-4E5A-8369-5DB5B3A328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3E235F-6ED9-4ACD-B165-1F1844C8EBB0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CB656A-01A7-44F5-AEAC-E9B617404E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7527F3-E28D-4855-8E00-ACF7C7965214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">
            <a:extLst>
              <a:ext uri="{FF2B5EF4-FFF2-40B4-BE49-F238E27FC236}">
                <a16:creationId xmlns:a16="http://schemas.microsoft.com/office/drawing/2014/main" id="{2D6838CD-F497-41E0-922F-8859382FD63D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E207B86B-9B89-4C98-AC92-D6C6CD9784B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8679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B3DF27-36C2-4D9B-84F8-C86689A1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82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2F660E-9AFA-44CE-B2CE-37E304AD5A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C86183-5085-425A-911E-943AA6FE5499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5" name="Line">
            <a:extLst>
              <a:ext uri="{FF2B5EF4-FFF2-40B4-BE49-F238E27FC236}">
                <a16:creationId xmlns:a16="http://schemas.microsoft.com/office/drawing/2014/main" id="{1D1663C5-C1D6-472D-8743-8D6DBA39342A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FC2D397B-AD55-45D0-8481-A6C52AA757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74AA219-9D2B-4980-9685-44F3C733EA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BA7BD3-A59B-4F4A-97CB-A8F367B6BA77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AE87AF3-535B-43F7-B50A-CD4F5F5148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403104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A1CB95-50AC-4F16-BA01-FFD192970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05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A1CB95-50AC-4F16-BA01-FFD192970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D7A326-D180-4AB7-9AF4-B10B792628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2E9BAA-3E88-4FBD-882D-F14E7FAA2C58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FCE109-8E28-47E0-BD48-F30C1B7A6C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A29613E-6BB3-4E88-B348-23BC1F1D7D2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Line">
            <a:extLst>
              <a:ext uri="{FF2B5EF4-FFF2-40B4-BE49-F238E27FC236}">
                <a16:creationId xmlns:a16="http://schemas.microsoft.com/office/drawing/2014/main" id="{FCA79F13-32BB-43C5-8083-668B686A260E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73910DB5-A608-4C3C-BBCC-A88B59059E3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A54FF86-610D-495E-8CED-0D764DBC47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320075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B105B2-14DF-48AF-9BFD-3BCB3C9474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54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B105B2-14DF-48AF-9BFD-3BCB3C9474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E4BB58-B9DA-492C-8CBF-0BA3E8C6EF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4"/>
            <a:ext cx="0" cy="398936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F9E49-A8A0-4348-A506-9247D279DC8C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03EC3CE-B761-4B6E-A07E-A0BA9C4F5F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7752F48-BE85-4329-9815-A54F6F23C60F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Line">
            <a:extLst>
              <a:ext uri="{FF2B5EF4-FFF2-40B4-BE49-F238E27FC236}">
                <a16:creationId xmlns:a16="http://schemas.microsoft.com/office/drawing/2014/main" id="{DCEA2486-8790-4F5F-A0D9-9F7C265692A2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F3E772A4-CD7F-4ACD-B5EA-1E86E06C9C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5534D4F-AB2F-48F8-A775-DA443BA2E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32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7A28E9-9D80-4B4F-92B3-211C5C47E2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30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7A28E9-9D80-4B4F-92B3-211C5C47E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BB59AB-5780-41E1-8F3B-B21E2D165B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4"/>
            <a:ext cx="0" cy="398936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A527-9510-4E44-938D-9FDA604AD8C2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469D488-97F1-4591-8C56-2182ABF5D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5E5739-1190-4125-BC43-E9BDE38A64F1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Line">
            <a:extLst>
              <a:ext uri="{FF2B5EF4-FFF2-40B4-BE49-F238E27FC236}">
                <a16:creationId xmlns:a16="http://schemas.microsoft.com/office/drawing/2014/main" id="{72A59B8E-F196-410A-8BBA-DD9B0C524BDA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791BEE35-93C1-41A5-9637-1A57200834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C4F5C083-ED8A-4CBF-88E6-731363DD70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46411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FF12A5-332C-4CD2-A239-832E563F4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658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FF12A5-332C-4CD2-A239-832E563F4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3AA6FF-F392-4652-9CEF-A30E979266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7790B3-F8E7-44B8-8998-390DF3B81756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070FD15-C357-4782-9C46-B757F65976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7346868-D7A4-4915-A591-E32C40397104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Line">
            <a:extLst>
              <a:ext uri="{FF2B5EF4-FFF2-40B4-BE49-F238E27FC236}">
                <a16:creationId xmlns:a16="http://schemas.microsoft.com/office/drawing/2014/main" id="{7B0BBC20-5CDF-4426-9528-41FEBCB98E50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FB12E777-3DEA-4F1B-A75B-5E6AE2A9A26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836DF4A1-73B0-481E-A85A-66AA25B0B7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0685BB-5707-4C72-BAF6-B9F8A021C32E}"/>
              </a:ext>
            </a:extLst>
          </p:cNvPr>
          <p:cNvCxnSpPr>
            <a:cxnSpLocks/>
          </p:cNvCxnSpPr>
          <p:nvPr userDrawn="1"/>
        </p:nvCxnSpPr>
        <p:spPr>
          <a:xfrm>
            <a:off x="2784347" y="1154132"/>
            <a:ext cx="0" cy="3989370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8F2AD3B-1C5E-4A80-B8C6-0C37D2503310}"/>
              </a:ext>
            </a:extLst>
          </p:cNvPr>
          <p:cNvCxnSpPr>
            <a:cxnSpLocks/>
          </p:cNvCxnSpPr>
          <p:nvPr userDrawn="1"/>
        </p:nvCxnSpPr>
        <p:spPr>
          <a:xfrm>
            <a:off x="5481827" y="1154132"/>
            <a:ext cx="0" cy="3989370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592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3F29B3-7218-4AAA-8A4D-E30BF3C52F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750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3F29B3-7218-4AAA-8A4D-E30BF3C52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C0E017-C184-44ED-B9E3-6C8105A697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81527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C0CB8F-8E22-48DB-8BEF-228A24537419}"/>
              </a:ext>
            </a:extLst>
          </p:cNvPr>
          <p:cNvCxnSpPr>
            <a:cxnSpLocks/>
          </p:cNvCxnSpPr>
          <p:nvPr userDrawn="1"/>
        </p:nvCxnSpPr>
        <p:spPr>
          <a:xfrm>
            <a:off x="2784347" y="1154132"/>
            <a:ext cx="0" cy="3989370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67A86DB-EF67-4F68-95D5-6FB09D173DF3}"/>
              </a:ext>
            </a:extLst>
          </p:cNvPr>
          <p:cNvCxnSpPr>
            <a:cxnSpLocks/>
          </p:cNvCxnSpPr>
          <p:nvPr userDrawn="1"/>
        </p:nvCxnSpPr>
        <p:spPr>
          <a:xfrm>
            <a:off x="5481827" y="1154132"/>
            <a:ext cx="0" cy="3989370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 userDrawn="1">
            <p:ph sz="quarter" idx="18"/>
          </p:nvPr>
        </p:nvSpPr>
        <p:spPr>
          <a:xfrm>
            <a:off x="5779008" y="1435607"/>
            <a:ext cx="210312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722E63-21C9-4E34-80CE-BAC6F7EDF2E0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8306E43-C5A1-4740-A554-7C733B6310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00BEF9-B604-43E4-87DC-189F1CC7BC99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Line">
            <a:extLst>
              <a:ext uri="{FF2B5EF4-FFF2-40B4-BE49-F238E27FC236}">
                <a16:creationId xmlns:a16="http://schemas.microsoft.com/office/drawing/2014/main" id="{ADEC0C44-DC78-4F2D-9EA3-E79C2B340043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F517CB85-C603-42C8-A31C-D44E74522D0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EFA9CCF-6E23-479F-9C2E-42CA7384542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129625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4"/>
            <a:ext cx="7498080" cy="15388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07CB27-C2CE-4C0F-9273-4268E13AAFA3}"/>
              </a:ext>
            </a:extLst>
          </p:cNvPr>
          <p:cNvCxnSpPr/>
          <p:nvPr userDrawn="1"/>
        </p:nvCxnSpPr>
        <p:spPr>
          <a:xfrm>
            <a:off x="240631" y="567922"/>
            <a:ext cx="0" cy="456778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91CB3F-1AA6-4C2A-80AF-61E30D1F2C2F}"/>
              </a:ext>
            </a:extLst>
          </p:cNvPr>
          <p:cNvCxnSpPr>
            <a:cxnSpLocks/>
          </p:cNvCxnSpPr>
          <p:nvPr userDrawn="1"/>
        </p:nvCxnSpPr>
        <p:spPr>
          <a:xfrm>
            <a:off x="1" y="567918"/>
            <a:ext cx="8161103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F56DEE-6AFE-41C5-A208-88CE538FD9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EC37D8-3480-486A-BCC7-BFB62E22B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07" y="921820"/>
            <a:ext cx="5965764" cy="3809463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C631742-B1AF-4AAC-825F-D5CBF79BA5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853441" y="1191027"/>
            <a:ext cx="4561009" cy="2882831"/>
          </a:xfrm>
          <a:ln w="6350">
            <a:solidFill>
              <a:schemeClr val="tx1">
                <a:lumMod val="40000"/>
                <a:lumOff val="6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FD0A88-D77C-4FC7-BA31-88CC07673DDD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F8E547-3DFF-4E8E-9F82-6F5FED9633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8" name="Line">
            <a:extLst>
              <a:ext uri="{FF2B5EF4-FFF2-40B4-BE49-F238E27FC236}">
                <a16:creationId xmlns:a16="http://schemas.microsoft.com/office/drawing/2014/main" id="{622CE95E-A5FB-4D7F-A2BB-5691F6606F3F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4576BE75-3ABA-47FB-BF93-69FD45A061B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6507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C93EF0-5228-4A42-96D9-EBBF79A4F3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20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C93EF0-5228-4A42-96D9-EBBF79A4F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3958BF-49FD-45F0-9941-B4208F752B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C668219-B134-42A7-8415-EE213D178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6D9E531-1C6E-4B92-9860-AB8ADA3C91C4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00BA878-F82D-48BA-A159-CDEC8090F1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60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8464DB-4487-49E1-B093-D3381116A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66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8464DB-4487-49E1-B093-D3381116A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1EEC1B7-57C0-4CA4-84E9-7C9CD67D16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438AF65-217A-4376-B5AD-EC05B595085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556BEB3-31AF-40B9-8914-27526E2FE8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47AE688D-5001-4259-AA3A-8516E8C48F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387618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BD30E-6C80-4A8A-B515-C6C07BAA6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9F78B-BE32-467D-91C4-991DE7E9B2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DB48E-48B1-4B0F-B434-C78FAFE52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D021B7F-F7A6-4692-9000-AA895432A623}" type="datetimeFigureOut">
              <a:rPr lang="en-US" smtClean="0"/>
              <a:t>10/2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D0533-A340-4EB5-A698-02BFD07E2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7F0EA-BE52-42B3-A51F-21211553B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D6C13D-6AF6-4FFF-B387-548654738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80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3B3082-63B6-49AC-A4DA-3B92C37C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18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3F2A08-3AC8-4E48-9E02-37D2C2F57F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6" y="1435607"/>
            <a:ext cx="7498081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E11EDC-58E1-4672-A08E-831910BE33BB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574963F6-CA33-4700-B662-499262FF1162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8E74303-01FC-4276-8B48-C26DAC8576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49A7DB-8DD0-491E-8951-3E64FB0BD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F388B5E-DEE9-4350-A0E9-125507DBB086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618EEDD0-F86C-4DFD-B097-37AFB119D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88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+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1FB9A-7E9E-4B8E-AD61-D4C33D07B8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301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0E0FE5-0617-4F10-89A2-024332642B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283465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7468008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33E115-558B-4376-92F0-9EDAF1E8354D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5" name="Line">
            <a:extLst>
              <a:ext uri="{FF2B5EF4-FFF2-40B4-BE49-F238E27FC236}">
                <a16:creationId xmlns:a16="http://schemas.microsoft.com/office/drawing/2014/main" id="{FB3FE334-5074-47F9-B243-67045BF74272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C6D6A0DC-28FF-47AF-A39A-423A1ABE29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397DF90-7917-4C1C-8D0A-4C82FFADD6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6D56C9-E95D-4B24-8602-BC23EC6DAF45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F26186F-7395-49A9-9A17-6E276310FA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787570"/>
            <a:ext cx="7498080" cy="274691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78167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549199-4725-4C68-A6B9-802220D7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7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4E64FF-B638-4E85-B1B4-9B1855945C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4136771" y="1154134"/>
            <a:ext cx="0" cy="398936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53128" y="1435607"/>
            <a:ext cx="3429000" cy="32004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342892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457189" indent="-11429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Taub Sans" pitchFamily="2" charset="0"/>
              <a:buChar char="◦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DF8C12-C3CF-4EF2-98A2-57A2A5AF581C}"/>
              </a:ext>
            </a:extLst>
          </p:cNvPr>
          <p:cNvSpPr/>
          <p:nvPr userDrawn="1"/>
        </p:nvSpPr>
        <p:spPr>
          <a:xfrm>
            <a:off x="8161101" y="1154131"/>
            <a:ext cx="982899" cy="398937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8" tIns="121918" rIns="121918" bIns="1219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121916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Taub Sans" pitchFamily="2" charset="77"/>
              <a:ea typeface="Taub Sans" pitchFamily="2" charset="77"/>
            </a:endParaRPr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87A2E62B-27CE-4C72-97CC-B51354D9F291}"/>
              </a:ext>
            </a:extLst>
          </p:cNvPr>
          <p:cNvSpPr/>
          <p:nvPr userDrawn="1"/>
        </p:nvSpPr>
        <p:spPr>
          <a:xfrm flipH="1" flipV="1">
            <a:off x="8161103" y="3900"/>
            <a:ext cx="0" cy="5135707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17145" rIns="17145"/>
          <a:lstStyle/>
          <a:p>
            <a:pPr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50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9E00001-6DC8-4976-8B1E-C2B0E39E0DC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E6806E0-E65E-49C8-9C39-A08C1593F3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8161101" y="3"/>
            <a:ext cx="982899" cy="1066747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846481-DDF2-4FEE-B6E8-839315B8C7D5}"/>
              </a:ext>
            </a:extLst>
          </p:cNvPr>
          <p:cNvCxnSpPr>
            <a:cxnSpLocks/>
          </p:cNvCxnSpPr>
          <p:nvPr userDrawn="1"/>
        </p:nvCxnSpPr>
        <p:spPr>
          <a:xfrm>
            <a:off x="0" y="115413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DD3716BA-02BF-4706-BFF5-D3CFCAD74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394348"/>
            <a:ext cx="749808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35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vmlDrawing" Target="../drawings/vmlDrawing12.vml"/><Relationship Id="rId3" Type="http://schemas.openxmlformats.org/officeDocument/2006/relationships/slideLayout" Target="../slideLayouts/slideLayout18.xml"/><Relationship Id="rId21" Type="http://schemas.openxmlformats.org/officeDocument/2006/relationships/oleObject" Target="../embeddings/oleObject12.bin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vmlDrawing" Target="../drawings/vmlDrawing23.vml"/><Relationship Id="rId3" Type="http://schemas.openxmlformats.org/officeDocument/2006/relationships/slideLayout" Target="../slideLayouts/slideLayout34.xml"/><Relationship Id="rId21" Type="http://schemas.openxmlformats.org/officeDocument/2006/relationships/oleObject" Target="../embeddings/oleObject23.bin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slideLayout" Target="../slideLayouts/slideLayout50.xml"/><Relationship Id="rId7" Type="http://schemas.openxmlformats.org/officeDocument/2006/relationships/tags" Target="../tags/tag6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vmlDrawing" Target="../drawings/vmlDrawing35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1.xml"/><Relationship Id="rId9" Type="http://schemas.openxmlformats.org/officeDocument/2006/relationships/oleObject" Target="../embeddings/oleObject3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7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ags" Target="../tags/tag7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1.xml"/><Relationship Id="rId19" Type="http://schemas.openxmlformats.org/officeDocument/2006/relationships/vmlDrawing" Target="../drawings/vmlDrawing38.v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oleObject" Target="../embeddings/oleObject3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330CC2-21BD-47EE-97AD-9D408F3D7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86507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6"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5CC7DE1-B2DB-4E82-8A04-54C9E58CFCB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837895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52829"/>
            <a:ext cx="83789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01265" y="4889146"/>
            <a:ext cx="472091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35035" y="4889146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0838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2" r:id="rId2"/>
    <p:sldLayoutId id="2147483753" r:id="rId3"/>
    <p:sldLayoutId id="2147483754" r:id="rId4"/>
    <p:sldLayoutId id="2147483767" r:id="rId5"/>
    <p:sldLayoutId id="2147483756" r:id="rId6"/>
    <p:sldLayoutId id="2147483768" r:id="rId7"/>
    <p:sldLayoutId id="2147483757" r:id="rId8"/>
    <p:sldLayoutId id="2147483783" r:id="rId9"/>
    <p:sldLayoutId id="2147483758" r:id="rId10"/>
    <p:sldLayoutId id="2147483784" r:id="rId11"/>
    <p:sldLayoutId id="2147483759" r:id="rId12"/>
    <p:sldLayoutId id="2147483760" r:id="rId13"/>
    <p:sldLayoutId id="2147483782" r:id="rId14"/>
    <p:sldLayoutId id="2147483764" r:id="rId15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15885" indent="-11588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114297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Taub Sans" pitchFamily="2" charset="0"/>
        <a:buChar char="◦"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5520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24" userDrawn="1">
          <p15:clr>
            <a:srgbClr val="A4A3A4"/>
          </p15:clr>
        </p15:guide>
        <p15:guide id="7" orient="horz" pos="9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DE9B50D-2826-43C7-8DCE-F9746F085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2117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29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361D8EA-BA9F-4A20-98EB-1CFEC3B149E3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837895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52829"/>
            <a:ext cx="83789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01265" y="4889146"/>
            <a:ext cx="472091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35035" y="4889146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29557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69" r:id="rId6"/>
    <p:sldLayoutId id="2147483723" r:id="rId7"/>
    <p:sldLayoutId id="2147483770" r:id="rId8"/>
    <p:sldLayoutId id="2147483724" r:id="rId9"/>
    <p:sldLayoutId id="2147483779" r:id="rId10"/>
    <p:sldLayoutId id="2147483725" r:id="rId11"/>
    <p:sldLayoutId id="2147483780" r:id="rId12"/>
    <p:sldLayoutId id="2147483726" r:id="rId13"/>
    <p:sldLayoutId id="2147483727" r:id="rId14"/>
    <p:sldLayoutId id="2147483778" r:id="rId15"/>
    <p:sldLayoutId id="2147483731" r:id="rId1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15885" indent="-11588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114297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Taub Sans" pitchFamily="2" charset="0"/>
        <a:buChar char="◦"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5520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24" userDrawn="1">
          <p15:clr>
            <a:srgbClr val="A4A3A4"/>
          </p15:clr>
        </p15:guide>
        <p15:guide id="7" orient="horz" pos="90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F7FC836-B69D-4A61-B981-F0C32CD587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43659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94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EC57E2C-3033-475D-9D8A-DE85ED60E66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837895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52829"/>
            <a:ext cx="83789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01265" y="4889146"/>
            <a:ext cx="472091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35035" y="4889146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92053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71" r:id="rId6"/>
    <p:sldLayoutId id="2147483740" r:id="rId7"/>
    <p:sldLayoutId id="2147483772" r:id="rId8"/>
    <p:sldLayoutId id="2147483741" r:id="rId9"/>
    <p:sldLayoutId id="2147483773" r:id="rId10"/>
    <p:sldLayoutId id="2147483742" r:id="rId11"/>
    <p:sldLayoutId id="2147483774" r:id="rId12"/>
    <p:sldLayoutId id="2147483743" r:id="rId13"/>
    <p:sldLayoutId id="2147483744" r:id="rId14"/>
    <p:sldLayoutId id="2147483776" r:id="rId15"/>
    <p:sldLayoutId id="2147483748" r:id="rId1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15885" indent="-11588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114297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Taub Sans" pitchFamily="2" charset="0"/>
        <a:buChar char="◦"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5520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24" userDrawn="1">
          <p15:clr>
            <a:srgbClr val="A4A3A4"/>
          </p15:clr>
        </p15:guide>
        <p15:guide id="7" orient="horz" pos="90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AF2FC-7D0F-4335-B5BD-6D710E307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3198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57" name="think-cell Slide" r:id="rId9" imgW="383" imgH="384" progId="TCLayout.ActiveDocument.1">
                  <p:embed/>
                </p:oleObj>
              </mc:Choice>
              <mc:Fallback>
                <p:oleObj name="think-cell Slide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303BFB-EE2E-4827-BF2A-DB43BA4B51D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837895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52829"/>
            <a:ext cx="83789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01265" y="4889146"/>
            <a:ext cx="472091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35035" y="4889146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203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89" r:id="rId2"/>
    <p:sldLayoutId id="2147483695" r:id="rId3"/>
    <p:sldLayoutId id="2147483715" r:id="rId4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15885" indent="-11588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114297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Taub Sans" pitchFamily="2" charset="0"/>
        <a:buChar char="◦"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5520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24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055E77-B8ED-434E-994C-E388275B4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6730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8" name="think-cell Slide" r:id="rId22" imgW="383" imgH="384" progId="TCLayout.ActiveDocument.1">
                  <p:embed/>
                </p:oleObj>
              </mc:Choice>
              <mc:Fallback>
                <p:oleObj name="think-cell Slide" r:id="rId22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055E77-B8ED-434E-994C-E388275B4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4FB5362-E87F-47BD-A8A0-E5D08610207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837895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52829"/>
            <a:ext cx="8378952" cy="1528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01265" y="4889146"/>
            <a:ext cx="472091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35035" y="4889146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384049" y="4919561"/>
            <a:ext cx="1474763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600" dirty="0">
                <a:solidFill>
                  <a:schemeClr val="tx1"/>
                </a:solidFill>
                <a:latin typeface="+mn-lt"/>
              </a:rPr>
              <a:t>Copyright ©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2020 ADP, Inc</a:t>
            </a:r>
            <a:r>
              <a:rPr sz="6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600" dirty="0">
                <a:solidFill>
                  <a:schemeClr val="tx1"/>
                </a:solidFill>
                <a:latin typeface="+mn-lt"/>
              </a:rPr>
              <a:t>ADP </a:t>
            </a:r>
            <a:r>
              <a:rPr sz="600" dirty="0">
                <a:solidFill>
                  <a:schemeClr val="tx1"/>
                </a:solidFill>
                <a:latin typeface="+mn-lt"/>
              </a:rPr>
              <a:t>Confidential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61055" y="4886344"/>
            <a:ext cx="346075" cy="157163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9008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15885" indent="-11588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114297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Taub Sans" pitchFamily="2" charset="0"/>
        <a:buChar char="◦"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pos="240">
          <p15:clr>
            <a:srgbClr val="A4A3A4"/>
          </p15:clr>
        </p15:guide>
        <p15:guide id="4" pos="5520">
          <p15:clr>
            <a:srgbClr val="A4A3A4"/>
          </p15:clr>
        </p15:guide>
        <p15:guide id="5" orient="horz" pos="324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orient="horz" pos="9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pneticsite.com/?template-preview=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pneticsite.com/?template-preview=68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tkdemo.upnetic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upnetic.com/toolkit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84048" y="1133856"/>
            <a:ext cx="3840480" cy="1825912"/>
          </a:xfrm>
        </p:spPr>
        <p:txBody>
          <a:bodyPr/>
          <a:lstStyle/>
          <a:p>
            <a:r>
              <a:rPr lang="en-US" sz="4400" dirty="0"/>
              <a:t>Small Business Marketing Toolkit</a:t>
            </a:r>
            <a:br>
              <a:rPr lang="en-US" dirty="0"/>
            </a:b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316F31-9A40-45C9-9292-7D11AEE371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457" y="123748"/>
            <a:ext cx="2518347" cy="5792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ED635D5-FAE3-44F8-B4E1-728AE351D6EC}"/>
              </a:ext>
            </a:extLst>
          </p:cNvPr>
          <p:cNvSpPr txBox="1"/>
          <p:nvPr/>
        </p:nvSpPr>
        <p:spPr>
          <a:xfrm>
            <a:off x="513347" y="3304674"/>
            <a:ext cx="27351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1200"/>
              </a:spcAft>
              <a:buClr>
                <a:schemeClr val="accent1"/>
              </a:buClr>
            </a:pPr>
            <a:r>
              <a:rPr lang="en-US" sz="1600" dirty="0">
                <a:solidFill>
                  <a:schemeClr val="bg1"/>
                </a:solidFill>
              </a:rPr>
              <a:t>Powered by Upnetic</a:t>
            </a:r>
          </a:p>
        </p:txBody>
      </p:sp>
    </p:spTree>
    <p:extLst>
      <p:ext uri="{BB962C8B-B14F-4D97-AF65-F5344CB8AC3E}">
        <p14:creationId xmlns:p14="http://schemas.microsoft.com/office/powerpoint/2010/main" val="6175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Marketing Analyz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0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94266" y="1399146"/>
            <a:ext cx="2428163" cy="3200400"/>
          </a:xfrm>
        </p:spPr>
        <p:txBody>
          <a:bodyPr/>
          <a:lstStyle/>
          <a:p>
            <a:pPr marL="257169" indent="-257169">
              <a:spcAft>
                <a:spcPts val="600"/>
              </a:spcAft>
              <a:buClr>
                <a:srgbClr val="5655A5"/>
              </a:buClr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Multi-point optimization analysis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Detailed instructional report within account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1-on-1 consultations availabl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ABDB82-8FEF-47B3-BFB2-6EE6EA368B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263"/>
          <a:stretch/>
        </p:blipFill>
        <p:spPr>
          <a:xfrm>
            <a:off x="3009898" y="1790814"/>
            <a:ext cx="5010253" cy="253102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69857C-EAFB-4604-B18E-583950784C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0835" y="1790814"/>
            <a:ext cx="1239316" cy="59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7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779CCEB-572E-4020-B97F-A47444B9879E}"/>
              </a:ext>
            </a:extLst>
          </p:cNvPr>
          <p:cNvSpPr/>
          <p:nvPr/>
        </p:nvSpPr>
        <p:spPr>
          <a:xfrm>
            <a:off x="3844442" y="1171089"/>
            <a:ext cx="4307889" cy="1943788"/>
          </a:xfrm>
          <a:prstGeom prst="rect">
            <a:avLst/>
          </a:prstGeom>
          <a:solidFill>
            <a:srgbClr val="EFB4B1"/>
          </a:solidFill>
          <a:ln w="19050">
            <a:solidFill>
              <a:srgbClr val="EFB4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900"/>
              </a:spcAft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site Builder Featur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1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8" y="1171089"/>
            <a:ext cx="3138084" cy="2556677"/>
          </a:xfrm>
        </p:spPr>
        <p:txBody>
          <a:bodyPr/>
          <a:lstStyle/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Unlimited pages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Blog &amp; multimedia capabilities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2222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-designed templates</a:t>
            </a:r>
            <a:endParaRPr lang="en-US" sz="1800" dirty="0">
              <a:solidFill>
                <a:srgbClr val="222222"/>
              </a:solidFill>
            </a:endParaRP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Mobile &amp; tablet optimized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Google Analytics integration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CRM contact form integr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68EC37-5BA1-40EE-A00F-154113B4045F}"/>
              </a:ext>
            </a:extLst>
          </p:cNvPr>
          <p:cNvSpPr txBox="1"/>
          <p:nvPr/>
        </p:nvSpPr>
        <p:spPr>
          <a:xfrm>
            <a:off x="4042332" y="3460731"/>
            <a:ext cx="4109999" cy="9746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</a:pPr>
            <a:r>
              <a:rPr lang="en-US" sz="1800" b="1" dirty="0"/>
              <a:t>+ Upgrades: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Custom domain options ($10/yr)</a:t>
            </a:r>
            <a:endParaRPr lang="en-US" sz="1600" dirty="0"/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Commerce capabilities ($9.95/mo)</a:t>
            </a:r>
          </a:p>
        </p:txBody>
      </p:sp>
      <p:sp>
        <p:nvSpPr>
          <p:cNvPr id="8" name="Rectangle 7"/>
          <p:cNvSpPr/>
          <p:nvPr/>
        </p:nvSpPr>
        <p:spPr>
          <a:xfrm>
            <a:off x="3844442" y="1230743"/>
            <a:ext cx="4600818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</a:pPr>
            <a:r>
              <a:rPr lang="en-US" sz="1800" b="1" dirty="0">
                <a:solidFill>
                  <a:srgbClr val="222222"/>
                </a:solidFill>
              </a:rPr>
              <a:t>Included Cost Savings: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Free SSL Certificate ($65/yr average cost)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Free Hosting &amp; subdomain ($80/mo average cost)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One-on-one consultations w/web exper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AF180D-394A-46FC-B92B-27348012399D}"/>
              </a:ext>
            </a:extLst>
          </p:cNvPr>
          <p:cNvSpPr txBox="1"/>
          <p:nvPr/>
        </p:nvSpPr>
        <p:spPr>
          <a:xfrm>
            <a:off x="313044" y="4360985"/>
            <a:ext cx="328009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100" i="1" dirty="0"/>
              <a:t>According to the SBA, of the 30 million businesses in the U.S., only 64% of small businesses have a website.</a:t>
            </a:r>
          </a:p>
          <a:p>
            <a:pPr algn="ctr">
              <a:spcAft>
                <a:spcPts val="1200"/>
              </a:spcAft>
              <a:buClr>
                <a:schemeClr val="accent1"/>
              </a:buClr>
            </a:pP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216717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site Builder Benefi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2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50312" y="1253397"/>
            <a:ext cx="3702270" cy="4377941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800" b="1" dirty="0"/>
              <a:t>Hosting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</a:rPr>
              <a:t>US</a:t>
            </a:r>
            <a:r>
              <a:rPr lang="en-US" sz="1600" dirty="0">
                <a:solidFill>
                  <a:srgbClr val="C00000"/>
                </a:solidFill>
              </a:rPr>
              <a:t>: </a:t>
            </a:r>
            <a:r>
              <a:rPr lang="en-US" sz="1600" dirty="0"/>
              <a:t>Upnetic provides Dedicated WordPress hosting: </a:t>
            </a:r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Average cost: $80/month	</a:t>
            </a:r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Smooth scaling for traffic spikes</a:t>
            </a:r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Global CDN (fast load times)</a:t>
            </a:r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Full page caching (fast load times)</a:t>
            </a: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endParaRPr lang="en-US" sz="1600" dirty="0"/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</a:rPr>
              <a:t>THEM: </a:t>
            </a:r>
            <a:r>
              <a:rPr lang="en-US" sz="1600" dirty="0"/>
              <a:t>Shared hosting (most common for basic websites):</a:t>
            </a:r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Average cost: $8.75/</a:t>
            </a:r>
            <a:r>
              <a:rPr lang="en-US" sz="1600" dirty="0" err="1"/>
              <a:t>mo</a:t>
            </a:r>
            <a:endParaRPr lang="en-US" sz="1600" dirty="0"/>
          </a:p>
          <a:p>
            <a:pPr marL="514344" lvl="2" indent="-285750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Causes slow load times, security risks</a:t>
            </a:r>
          </a:p>
        </p:txBody>
      </p:sp>
      <p:sp>
        <p:nvSpPr>
          <p:cNvPr id="8" name="Rectangle 7"/>
          <p:cNvSpPr/>
          <p:nvPr/>
        </p:nvSpPr>
        <p:spPr>
          <a:xfrm>
            <a:off x="4222376" y="1253397"/>
            <a:ext cx="3907016" cy="3344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</a:pPr>
            <a:r>
              <a:rPr lang="en-US" sz="1800" b="1" dirty="0">
                <a:solidFill>
                  <a:srgbClr val="222222"/>
                </a:solidFill>
              </a:rPr>
              <a:t>SSL Certificates	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An SSL certificate ensures that the website is safe and secure from cyber-attacks (https)</a:t>
            </a:r>
          </a:p>
          <a:p>
            <a:pPr marL="685784" lvl="1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Taub Sans" pitchFamily="2" charset="0"/>
              <a:buChar char="˚"/>
            </a:pPr>
            <a:r>
              <a:rPr lang="en-US" sz="1600" dirty="0">
                <a:solidFill>
                  <a:srgbClr val="222222"/>
                </a:solidFill>
              </a:rPr>
              <a:t>Sites with </a:t>
            </a:r>
            <a:r>
              <a:rPr lang="en-US" sz="1600" dirty="0" err="1">
                <a:solidFill>
                  <a:srgbClr val="222222"/>
                </a:solidFill>
              </a:rPr>
              <a:t>SSls</a:t>
            </a:r>
            <a:r>
              <a:rPr lang="en-US" sz="1600" dirty="0">
                <a:solidFill>
                  <a:srgbClr val="222222"/>
                </a:solidFill>
              </a:rPr>
              <a:t> are ranked higher by Google &amp; trusted more by visitors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Upnetic provides DV Certificates (most common)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Average cost: $64.99/yr</a:t>
            </a:r>
          </a:p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22222"/>
                </a:solidFill>
              </a:rPr>
              <a:t>Upnetic manages renewals (GoDaddy charges extra)</a:t>
            </a:r>
          </a:p>
        </p:txBody>
      </p:sp>
    </p:spTree>
    <p:extLst>
      <p:ext uri="{BB962C8B-B14F-4D97-AF65-F5344CB8AC3E}">
        <p14:creationId xmlns:p14="http://schemas.microsoft.com/office/powerpoint/2010/main" val="2557012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site Templat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3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1904" y="1291998"/>
            <a:ext cx="7096691" cy="3200400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0"/>
              </a:spcAft>
              <a:buClr>
                <a:srgbClr val="5655A5"/>
              </a:buClr>
            </a:pPr>
            <a:r>
              <a:rPr lang="en-US" sz="1800" dirty="0"/>
              <a:t>Top Industries for Enhanced/</a:t>
            </a:r>
            <a:br>
              <a:rPr lang="en-US" sz="1800" dirty="0"/>
            </a:br>
            <a:r>
              <a:rPr lang="en-US" sz="1800" dirty="0"/>
              <a:t>Essentials bundles: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rgbClr val="5655A5"/>
              </a:buClr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Restaurants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Legal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octor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ntist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Auto Repair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nsulting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uilding Equipment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Insurance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ay Care</a:t>
            </a:r>
          </a:p>
          <a:p>
            <a:pPr marL="257169" indent="-257169"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ax/payro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D0803B-0321-4C99-BD3C-08E088DA37AA}"/>
              </a:ext>
            </a:extLst>
          </p:cNvPr>
          <p:cNvSpPr txBox="1"/>
          <p:nvPr/>
        </p:nvSpPr>
        <p:spPr>
          <a:xfrm>
            <a:off x="3086100" y="4832101"/>
            <a:ext cx="524054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View templates: </a:t>
            </a:r>
            <a:r>
              <a:rPr lang="en-US" sz="1200" dirty="0">
                <a:hlinkClick r:id="rId3"/>
              </a:rPr>
              <a:t>https://upneticsite.com/?template-preview=68</a:t>
            </a:r>
            <a:r>
              <a:rPr lang="en-US" sz="1200" dirty="0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03AB77-045D-4D69-87FD-F917ACD037E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b="670"/>
          <a:stretch/>
        </p:blipFill>
        <p:spPr>
          <a:xfrm>
            <a:off x="3751238" y="1370115"/>
            <a:ext cx="2798547" cy="33838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79C4C00-2A49-4C64-8AB2-DD3B3ED0AD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5206" y="1567618"/>
            <a:ext cx="2949157" cy="318395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841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Media Dashboar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4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1905" y="1291998"/>
            <a:ext cx="2523053" cy="3200400"/>
          </a:xfrm>
        </p:spPr>
        <p:txBody>
          <a:bodyPr/>
          <a:lstStyle/>
          <a:p>
            <a:pPr marL="257169" indent="-257169">
              <a:spcAft>
                <a:spcPts val="600"/>
              </a:spcAft>
              <a:buClr>
                <a:srgbClr val="5655A5"/>
              </a:buClr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ocial media integration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Google Analytics integration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Customizable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563D1-7663-4426-9176-8F59981E2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2856" y="1448061"/>
            <a:ext cx="3784452" cy="33630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355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4E0E5EA-ADC1-44BE-AF58-69B1CF73E900}"/>
              </a:ext>
            </a:extLst>
          </p:cNvPr>
          <p:cNvSpPr/>
          <p:nvPr/>
        </p:nvSpPr>
        <p:spPr>
          <a:xfrm>
            <a:off x="5630892" y="1911899"/>
            <a:ext cx="1951726" cy="2048155"/>
          </a:xfrm>
          <a:prstGeom prst="rect">
            <a:avLst/>
          </a:prstGeom>
          <a:solidFill>
            <a:srgbClr val="EFB4B1"/>
          </a:solidFill>
          <a:ln w="19050">
            <a:solidFill>
              <a:srgbClr val="EFB4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900"/>
              </a:spcAft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gle My Business Optimiz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5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94267" y="1399146"/>
            <a:ext cx="2548934" cy="3200400"/>
          </a:xfrm>
        </p:spPr>
        <p:txBody>
          <a:bodyPr/>
          <a:lstStyle/>
          <a:p>
            <a:pPr marL="257169" indent="-257169">
              <a:spcAft>
                <a:spcPts val="600"/>
              </a:spcAft>
              <a:buClr>
                <a:srgbClr val="5655A5"/>
              </a:buClr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DIFM creation &amp; optimization service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Enhance local search &amp; maps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1-on-1 consultations available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08FF75-1D1E-4386-878A-C16A190290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5675" y="1319841"/>
            <a:ext cx="1744362" cy="365113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6D1A7B6-C10D-4D91-80C5-AAAEBCF6D009}"/>
              </a:ext>
            </a:extLst>
          </p:cNvPr>
          <p:cNvSpPr txBox="1"/>
          <p:nvPr/>
        </p:nvSpPr>
        <p:spPr>
          <a:xfrm>
            <a:off x="5630892" y="2058813"/>
            <a:ext cx="195172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93% of customers say that their buying decisions are influenced by online reviews.</a:t>
            </a:r>
          </a:p>
          <a:p>
            <a:pPr algn="ctr"/>
            <a:endParaRPr lang="en-US" i="1" dirty="0"/>
          </a:p>
          <a:p>
            <a:pPr algn="ctr"/>
            <a:r>
              <a:rPr lang="en-US" i="1" dirty="0"/>
              <a:t> </a:t>
            </a:r>
            <a:r>
              <a:rPr lang="en-US" dirty="0"/>
              <a:t>Upnetic can help clients manage and respond to customer reviews.</a:t>
            </a:r>
          </a:p>
        </p:txBody>
      </p:sp>
    </p:spTree>
    <p:extLst>
      <p:ext uri="{BB962C8B-B14F-4D97-AF65-F5344CB8AC3E}">
        <p14:creationId xmlns:p14="http://schemas.microsoft.com/office/powerpoint/2010/main" val="24742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6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1905" y="1291998"/>
            <a:ext cx="2548934" cy="3200400"/>
          </a:xfrm>
        </p:spPr>
        <p:txBody>
          <a:bodyPr/>
          <a:lstStyle/>
          <a:p>
            <a:pPr marL="257169" indent="-257169">
              <a:spcAft>
                <a:spcPts val="600"/>
              </a:spcAft>
              <a:buClr>
                <a:srgbClr val="5655A5"/>
              </a:buClr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Track sales leads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tore &amp; leverage prospect &amp; customer data</a:t>
            </a:r>
          </a:p>
          <a:p>
            <a:pPr marL="257169" indent="-2571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Mailchimp</a:t>
            </a:r>
            <a:r>
              <a:rPr lang="en-US" dirty="0"/>
              <a:t>®</a:t>
            </a:r>
            <a:r>
              <a:rPr lang="en-US" sz="1800" dirty="0"/>
              <a:t> email marketing integr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1F080D-58B8-4FA1-B6EB-5A2ED88338F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46" t="23516" r="4905" b="1826"/>
          <a:stretch/>
        </p:blipFill>
        <p:spPr>
          <a:xfrm>
            <a:off x="3286665" y="1716657"/>
            <a:ext cx="4440188" cy="288590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65108E-5F32-4AFA-B69C-56A3B06FEB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03"/>
          <a:stretch/>
        </p:blipFill>
        <p:spPr>
          <a:xfrm>
            <a:off x="763782" y="3985478"/>
            <a:ext cx="1306729" cy="56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9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fying Ques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7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85257" y="1336863"/>
            <a:ext cx="7696871" cy="3200400"/>
          </a:xfrm>
        </p:spPr>
        <p:txBody>
          <a:bodyPr/>
          <a:lstStyle/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When customers look for you online or on Google Maps, what do they see?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ow do you monitor your website and social performance?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ow much do you spend on website and hosting services? 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Who do you consult with on important marketing questions and decisions?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What are you currently doing to convert prospects to customers? </a:t>
            </a:r>
          </a:p>
        </p:txBody>
      </p:sp>
    </p:spTree>
    <p:extLst>
      <p:ext uri="{BB962C8B-B14F-4D97-AF65-F5344CB8AC3E}">
        <p14:creationId xmlns:p14="http://schemas.microsoft.com/office/powerpoint/2010/main" val="237557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ion: Freshlime via Paychex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8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11" y="1228415"/>
            <a:ext cx="7704146" cy="1002167"/>
          </a:xfrm>
        </p:spPr>
        <p:txBody>
          <a:bodyPr/>
          <a:lstStyle/>
          <a:p>
            <a:pPr marL="257175" indent="-257175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Paychex Offer: Get 12-months of the Local Launch Platform to help promote your business on the web; receive an online business performance report + $1,000 in prepaid digital marketing services</a:t>
            </a:r>
          </a:p>
          <a:p>
            <a:endParaRPr lang="en-US" sz="1800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2509A9E-96A8-479B-A672-9346FEB3D9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59717"/>
              </p:ext>
            </p:extLst>
          </p:nvPr>
        </p:nvGraphicFramePr>
        <p:xfrm>
          <a:off x="270164" y="2214273"/>
          <a:ext cx="7819803" cy="2589445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1500003">
                  <a:extLst>
                    <a:ext uri="{9D8B030D-6E8A-4147-A177-3AD203B41FA5}">
                      <a16:colId xmlns:a16="http://schemas.microsoft.com/office/drawing/2014/main" val="4286203117"/>
                    </a:ext>
                  </a:extLst>
                </a:gridCol>
                <a:gridCol w="2184232">
                  <a:extLst>
                    <a:ext uri="{9D8B030D-6E8A-4147-A177-3AD203B41FA5}">
                      <a16:colId xmlns:a16="http://schemas.microsoft.com/office/drawing/2014/main" val="211293332"/>
                    </a:ext>
                  </a:extLst>
                </a:gridCol>
                <a:gridCol w="2067784">
                  <a:extLst>
                    <a:ext uri="{9D8B030D-6E8A-4147-A177-3AD203B41FA5}">
                      <a16:colId xmlns:a16="http://schemas.microsoft.com/office/drawing/2014/main" val="1170219061"/>
                    </a:ext>
                  </a:extLst>
                </a:gridCol>
                <a:gridCol w="2067784">
                  <a:extLst>
                    <a:ext uri="{9D8B030D-6E8A-4147-A177-3AD203B41FA5}">
                      <a16:colId xmlns:a16="http://schemas.microsoft.com/office/drawing/2014/main" val="803931328"/>
                    </a:ext>
                  </a:extLst>
                </a:gridCol>
              </a:tblGrid>
              <a:tr h="4425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Featu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Small Business Marketing Toolkit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$40/mo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Freshlime SEO Packag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$149 startup + $49.99/mo</a:t>
                      </a: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Freshlime Website Packag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$49.99/mo</a:t>
                      </a: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744989664"/>
                  </a:ext>
                </a:extLst>
              </a:tr>
              <a:tr h="4338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effectLst/>
                        </a:rPr>
                        <a:t>GMB Optimization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dirty="0">
                          <a:effectLst/>
                          <a:sym typeface="Wingdings" panose="05000000000000000000" pitchFamily="2" charset="2"/>
                        </a:rPr>
                      </a:b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2119856924"/>
                  </a:ext>
                </a:extLst>
              </a:tr>
              <a:tr h="4338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effectLst/>
                        </a:rPr>
                        <a:t>CRM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3058068769"/>
                  </a:ext>
                </a:extLst>
              </a:tr>
              <a:tr h="4338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effectLst/>
                        </a:rPr>
                        <a:t>Digital Marketing Dashboard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1876599935"/>
                  </a:ext>
                </a:extLst>
              </a:tr>
              <a:tr h="4338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effectLst/>
                        </a:rPr>
                        <a:t>Digital Marketing Analysis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163744312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effectLst/>
                        </a:rPr>
                        <a:t>Website Builder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8958" marR="1895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DIY:  unlimited pages</a:t>
                      </a:r>
                    </a:p>
                  </a:txBody>
                  <a:tcPr marL="18958" marR="18958" marT="0" marB="0" anchor="ctr">
                    <a:solidFill>
                      <a:srgbClr val="EFB4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9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en-US" sz="900" b="1" dirty="0">
                        <a:solidFill>
                          <a:srgbClr val="C00000"/>
                        </a:solidFill>
                      </a:endParaRPr>
                    </a:p>
                  </a:txBody>
                  <a:tcPr marL="18958" marR="1895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DIFM: 1-3 pages</a:t>
                      </a:r>
                    </a:p>
                  </a:txBody>
                  <a:tcPr marL="18958" marR="18958" marT="0" marB="0" anchor="ctr"/>
                </a:tc>
                <a:extLst>
                  <a:ext uri="{0D108BD9-81ED-4DB2-BD59-A6C34878D82A}">
                    <a16:rowId xmlns:a16="http://schemas.microsoft.com/office/drawing/2014/main" val="26477360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684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ive Advant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19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85750" y="1442728"/>
            <a:ext cx="7596378" cy="3200400"/>
          </a:xfrm>
        </p:spPr>
        <p:txBody>
          <a:bodyPr/>
          <a:lstStyle/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Price</a:t>
            </a:r>
            <a:r>
              <a:rPr lang="en-US" sz="1800" dirty="0"/>
              <a:t>: low monthly cost, no start-up fees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Capabilities</a:t>
            </a:r>
            <a:r>
              <a:rPr lang="en-US" sz="1800" dirty="0"/>
              <a:t>: more tools, integrations, all-in-one suite, SSO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Service</a:t>
            </a:r>
            <a:r>
              <a:rPr lang="en-US" sz="1800" dirty="0"/>
              <a:t>: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222222"/>
                </a:solidFill>
              </a:rPr>
              <a:t>white glove service including full digital marketing analysis, one-on-one consultations, do-it-for-me GMB 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Scaling</a:t>
            </a:r>
            <a:r>
              <a:rPr lang="en-US" sz="1800" dirty="0"/>
              <a:t>: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222222"/>
                </a:solidFill>
              </a:rPr>
              <a:t>features expand as business expands</a:t>
            </a:r>
            <a:endParaRPr lang="en-US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27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72E17CBE-EA17-45FD-88E4-D116AF7A0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319398"/>
            <a:ext cx="7498080" cy="430887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362773-F265-4FAA-BA2B-CB8D8BB836A4}"/>
              </a:ext>
            </a:extLst>
          </p:cNvPr>
          <p:cNvSpPr txBox="1"/>
          <p:nvPr/>
        </p:nvSpPr>
        <p:spPr>
          <a:xfrm>
            <a:off x="103318" y="1719049"/>
            <a:ext cx="3981664" cy="3098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When clients inquire about marketing services, there are only 2 options today: </a:t>
            </a:r>
          </a:p>
          <a:p>
            <a:pPr marL="514342" lvl="1" indent="-1714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Upgrade to the HR Pro bundle</a:t>
            </a:r>
          </a:p>
          <a:p>
            <a:pPr marL="514342" lvl="1" indent="-1714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Purchase a separate, standalone marketing suite with no integration capabilities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As both of these options are expensive, they may not be ideal for cost-sensitive clients. 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By not offering an affordable and integrated solution, ADP may be missing the mark on potential sales and increased retention.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endParaRPr lang="en-US" sz="14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313158-5946-4186-A94E-6BFDD9ADC48B}"/>
              </a:ext>
            </a:extLst>
          </p:cNvPr>
          <p:cNvSpPr txBox="1"/>
          <p:nvPr/>
        </p:nvSpPr>
        <p:spPr>
          <a:xfrm>
            <a:off x="0" y="1247568"/>
            <a:ext cx="38107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800" b="1" dirty="0"/>
              <a:t>Current Client &amp; Sales Experi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AC52ED-A606-4727-9511-793DC6BB94D2}"/>
              </a:ext>
            </a:extLst>
          </p:cNvPr>
          <p:cNvSpPr txBox="1"/>
          <p:nvPr/>
        </p:nvSpPr>
        <p:spPr>
          <a:xfrm>
            <a:off x="4196690" y="1247568"/>
            <a:ext cx="38107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800" b="1" dirty="0"/>
              <a:t>Future Client &amp; Sales Exper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5F5B4B-0090-41C2-964D-A8388A48D436}"/>
              </a:ext>
            </a:extLst>
          </p:cNvPr>
          <p:cNvSpPr txBox="1"/>
          <p:nvPr/>
        </p:nvSpPr>
        <p:spPr>
          <a:xfrm>
            <a:off x="4196690" y="1716029"/>
            <a:ext cx="3810712" cy="3652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Where HR Pro is not feasible, Sales will inform clients of the option to purchase the Small Business Marketing Toolkit:</a:t>
            </a:r>
          </a:p>
          <a:p>
            <a:pPr marL="628642" lvl="1" indent="-2857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Sales will provide clients with a feature overview over the phone. </a:t>
            </a:r>
          </a:p>
          <a:p>
            <a:pPr marL="628642" lvl="1" indent="-2857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If the client is interested, Sales will submit a Sales order via ESO.</a:t>
            </a:r>
          </a:p>
          <a:p>
            <a:pPr marL="628642" lvl="1" indent="-2857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Implementation/Sales HelpDesk will enable the Marketing Toolkit feature on the Payroll Features section in RUN.</a:t>
            </a:r>
          </a:p>
          <a:p>
            <a:pPr marL="628642" lvl="1" indent="-28575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j-lt"/>
              </a:rPr>
              <a:t>Lead generation opportunity for the HRBA team. Leads will submitted through normal channel to internal sales team.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</a:pPr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0714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35289" y="6539379"/>
            <a:ext cx="112210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20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85D86E-4F53-4861-88FE-F89E214407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85750" y="1627188"/>
            <a:ext cx="3009452" cy="1918993"/>
          </a:xfrm>
        </p:spPr>
        <p:txBody>
          <a:bodyPr/>
          <a:lstStyle/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Website Builder</a:t>
            </a: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Digital Media Analyzer</a:t>
            </a: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GMB Optimization</a:t>
            </a: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Dashboard</a:t>
            </a:r>
            <a:endParaRPr lang="en-US" sz="1800" dirty="0">
              <a:solidFill>
                <a:srgbClr val="222222"/>
              </a:solidFill>
            </a:endParaRP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CRM</a:t>
            </a: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Learning Lab</a:t>
            </a:r>
          </a:p>
          <a:p>
            <a:pPr marL="458774" lvl="1" indent="-342892">
              <a:spcAft>
                <a:spcPts val="0"/>
              </a:spcAft>
              <a:buClr>
                <a:srgbClr val="C00000"/>
              </a:buClr>
            </a:pPr>
            <a:r>
              <a:rPr lang="en-US" sz="1800" dirty="0">
                <a:solidFill>
                  <a:srgbClr val="C00000"/>
                </a:solidFill>
              </a:rPr>
              <a:t>One-on-One Coaching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72208" y="1167065"/>
            <a:ext cx="4155541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Add-on product available to new &amp; existing clients enrolled in the Essential &amp; Enhanced bundles with 1-4 EE’s for $40/mo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elps small businesses establish and manage their </a:t>
            </a:r>
            <a:r>
              <a:rPr lang="en-US" sz="1800" dirty="0">
                <a:solidFill>
                  <a:srgbClr val="222222"/>
                </a:solidFill>
              </a:rPr>
              <a:t>online</a:t>
            </a:r>
            <a:r>
              <a:rPr lang="en-US" sz="1800" dirty="0">
                <a:solidFill>
                  <a:srgbClr val="00B050"/>
                </a:solidFill>
              </a:rPr>
              <a:t> </a:t>
            </a:r>
            <a:r>
              <a:rPr lang="en-US" sz="1800" dirty="0"/>
              <a:t>brand, improve search performance, and engage with customers.</a:t>
            </a:r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Clients will have the tools &amp; guidance they need to attract more customers &amp; increase their revenue.</a:t>
            </a:r>
          </a:p>
        </p:txBody>
      </p:sp>
      <p:sp>
        <p:nvSpPr>
          <p:cNvPr id="7" name="Rectangle 6"/>
          <p:cNvSpPr/>
          <p:nvPr/>
        </p:nvSpPr>
        <p:spPr>
          <a:xfrm>
            <a:off x="156354" y="1172762"/>
            <a:ext cx="3607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/>
              <a:t>Small Business Marketing Toolkit </a:t>
            </a:r>
          </a:p>
        </p:txBody>
      </p:sp>
      <p:sp>
        <p:nvSpPr>
          <p:cNvPr id="8" name="Rectangle 7"/>
          <p:cNvSpPr/>
          <p:nvPr/>
        </p:nvSpPr>
        <p:spPr>
          <a:xfrm>
            <a:off x="384048" y="3979399"/>
            <a:ext cx="27061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rgbClr val="121C4E"/>
                </a:solidFill>
              </a:rPr>
              <a:t>Demo</a:t>
            </a:r>
            <a:r>
              <a:rPr lang="en-US" sz="1800" dirty="0">
                <a:solidFill>
                  <a:srgbClr val="C00000"/>
                </a:solidFill>
              </a:rPr>
              <a:t>:</a:t>
            </a:r>
            <a:r>
              <a:rPr lang="en-US" sz="1800" dirty="0">
                <a:solidFill>
                  <a:srgbClr val="121C4E"/>
                </a:solidFill>
              </a:rPr>
              <a:t> </a:t>
            </a:r>
            <a:r>
              <a:rPr lang="en-US" sz="1800" dirty="0">
                <a:solidFill>
                  <a:srgbClr val="C0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kdemo.upnetic.com</a:t>
            </a:r>
            <a:endParaRPr lang="en-US" sz="1800" dirty="0">
              <a:solidFill>
                <a:srgbClr val="C00000"/>
              </a:solidFill>
            </a:endParaRPr>
          </a:p>
          <a:p>
            <a:r>
              <a:rPr lang="en-US" sz="1800" dirty="0">
                <a:solidFill>
                  <a:srgbClr val="121C4E"/>
                </a:solidFill>
              </a:rPr>
              <a:t>Info</a:t>
            </a:r>
            <a:r>
              <a:rPr lang="en-US" sz="1800" dirty="0">
                <a:solidFill>
                  <a:srgbClr val="C00000"/>
                </a:solidFill>
              </a:rPr>
              <a:t>: </a:t>
            </a:r>
            <a:r>
              <a:rPr lang="en-US" sz="1800" dirty="0">
                <a:solidFill>
                  <a:srgbClr val="C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pnetic.com/toolki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93823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06079" y="2125628"/>
            <a:ext cx="3840480" cy="664797"/>
          </a:xfrm>
        </p:spPr>
        <p:txBody>
          <a:bodyPr/>
          <a:lstStyle/>
          <a:p>
            <a:r>
              <a:rPr lang="en-US" dirty="0"/>
              <a:t>Question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316F31-9A40-45C9-9292-7D11AEE371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457" y="123748"/>
            <a:ext cx="2518347" cy="579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18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691DA3-4ABE-49F3-91E6-D9975CC9DD5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Taub Sans"/>
                <a:cs typeface="Helvetica"/>
              </a:rPr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Taub Sans"/>
              <a:cs typeface="Helvetica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2F0D0A6-ECC0-46D8-8F07-5EDD3116DF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490133"/>
              </p:ext>
            </p:extLst>
          </p:nvPr>
        </p:nvGraphicFramePr>
        <p:xfrm>
          <a:off x="191124" y="1455194"/>
          <a:ext cx="8761752" cy="3063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0876">
                  <a:extLst>
                    <a:ext uri="{9D8B030D-6E8A-4147-A177-3AD203B41FA5}">
                      <a16:colId xmlns:a16="http://schemas.microsoft.com/office/drawing/2014/main" val="3418614981"/>
                    </a:ext>
                  </a:extLst>
                </a:gridCol>
                <a:gridCol w="4380876">
                  <a:extLst>
                    <a:ext uri="{9D8B030D-6E8A-4147-A177-3AD203B41FA5}">
                      <a16:colId xmlns:a16="http://schemas.microsoft.com/office/drawing/2014/main" val="1579581956"/>
                    </a:ext>
                  </a:extLst>
                </a:gridCol>
              </a:tblGrid>
              <a:tr h="26029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Sales Rul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Bill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7459733"/>
                  </a:ext>
                </a:extLst>
              </a:tr>
              <a:tr h="53462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dirty="0"/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Limited to clients with 1-4 EE’s 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lients must be enrolled in Essential or Enhanced package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Existing discounts will apply to Marketing Toolkit feature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Marketing Toolkit discount should not exceed discount on payroll bundle / features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dirty="0"/>
                    </a:p>
                    <a:p>
                      <a:pPr marL="111125" indent="-111125" algn="l" defTabSz="685783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Book Price: $40 per client per month</a:t>
                      </a:r>
                    </a:p>
                    <a:p>
                      <a:pPr marL="111125" indent="-111125" algn="l" defTabSz="685783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$40 Fee equally divided by pay frequency:</a:t>
                      </a:r>
                    </a:p>
                    <a:p>
                      <a:pPr marL="857233" lvl="2" indent="-171450" algn="l" defTabSz="685783" rtl="0" eaLnBrk="1" latinLnBrk="0" hangingPunct="1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Weekly $9.25</a:t>
                      </a:r>
                    </a:p>
                    <a:p>
                      <a:pPr marL="857233" lvl="2" indent="-171450" algn="l" defTabSz="685783" rtl="0" eaLnBrk="1" latinLnBrk="0" hangingPunct="1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Bi-Weekly $18.50</a:t>
                      </a:r>
                    </a:p>
                    <a:p>
                      <a:pPr marL="857233" lvl="2" indent="-171450" algn="l" defTabSz="685783" rtl="0" eaLnBrk="1" latinLnBrk="0" hangingPunct="1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Semi-Monthly $19.95</a:t>
                      </a:r>
                    </a:p>
                    <a:p>
                      <a:pPr marL="857233" lvl="2" indent="-171450" algn="l" defTabSz="685783" rtl="0" eaLnBrk="1" latinLnBrk="0" hangingPunct="1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Monthly $40.00</a:t>
                      </a:r>
                    </a:p>
                    <a:p>
                      <a:pPr marL="857233" lvl="2" indent="-171450" algn="l" defTabSz="685783" rtl="0" eaLnBrk="1" latinLnBrk="0" hangingPunct="1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</a:rPr>
                        <a:t>Quarterly $120.00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919870"/>
                  </a:ext>
                </a:extLst>
              </a:tr>
            </a:tbl>
          </a:graphicData>
        </a:graphic>
      </p:graphicFrame>
      <p:sp>
        <p:nvSpPr>
          <p:cNvPr id="13" name="Title 4">
            <a:extLst>
              <a:ext uri="{FF2B5EF4-FFF2-40B4-BE49-F238E27FC236}">
                <a16:creationId xmlns:a16="http://schemas.microsoft.com/office/drawing/2014/main" id="{E89A2324-EF42-4725-AAF3-EE917C288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83465"/>
            <a:ext cx="7498080" cy="430887"/>
          </a:xfrm>
        </p:spPr>
        <p:txBody>
          <a:bodyPr/>
          <a:lstStyle/>
          <a:p>
            <a:r>
              <a:rPr lang="en-US" dirty="0">
                <a:solidFill>
                  <a:srgbClr val="26328C"/>
                </a:solidFill>
              </a:rPr>
              <a:t>Overview (cont.)</a:t>
            </a:r>
          </a:p>
        </p:txBody>
      </p:sp>
    </p:spTree>
    <p:extLst>
      <p:ext uri="{BB962C8B-B14F-4D97-AF65-F5344CB8AC3E}">
        <p14:creationId xmlns:p14="http://schemas.microsoft.com/office/powerpoint/2010/main" val="130218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4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71" y="1378508"/>
            <a:ext cx="8013031" cy="3200400"/>
          </a:xfrm>
        </p:spPr>
        <p:txBody>
          <a:bodyPr/>
          <a:lstStyle/>
          <a:p>
            <a:pPr marL="34289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The Small Business Marketing Toolkit is a new add-on product available to new &amp; existing clients enrolled in the Essential &amp; Enhanced bundles with 1-4 EE’s for $40/mo.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</a:pPr>
            <a:endParaRPr lang="en-US" sz="800" dirty="0"/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Website Builder: </a:t>
            </a:r>
            <a:r>
              <a:rPr lang="en-US" sz="1600" dirty="0">
                <a:solidFill>
                  <a:srgbClr val="222222"/>
                </a:solidFill>
              </a:rPr>
              <a:t>template-driven, free hosting/SSL, unlimited pages</a:t>
            </a:r>
            <a:endParaRPr lang="en-US" sz="1600" dirty="0">
              <a:solidFill>
                <a:srgbClr val="C00000"/>
              </a:solidFill>
            </a:endParaRP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Digital Media Analyzer: </a:t>
            </a:r>
            <a:r>
              <a:rPr lang="en-US" sz="1600" dirty="0">
                <a:solidFill>
                  <a:srgbClr val="222222"/>
                </a:solidFill>
              </a:rPr>
              <a:t>action steps to improve website, social, SEO</a:t>
            </a:r>
            <a:endParaRPr lang="en-US" sz="1600" dirty="0">
              <a:solidFill>
                <a:srgbClr val="C00000"/>
              </a:solidFill>
            </a:endParaRP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Google My Business Optimization: </a:t>
            </a:r>
            <a:r>
              <a:rPr lang="en-US" sz="1600" dirty="0">
                <a:solidFill>
                  <a:srgbClr val="222222"/>
                </a:solidFill>
              </a:rPr>
              <a:t>DIFM service for improving Google Maps &amp; Search</a:t>
            </a: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Dashboard: </a:t>
            </a:r>
            <a:r>
              <a:rPr lang="en-US" sz="1600" dirty="0">
                <a:solidFill>
                  <a:srgbClr val="222222"/>
                </a:solidFill>
              </a:rPr>
              <a:t>manage social media platforms &amp; digital analytics from a single platform</a:t>
            </a: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CRM: </a:t>
            </a:r>
            <a:r>
              <a:rPr lang="en-US" sz="1600" dirty="0">
                <a:solidFill>
                  <a:srgbClr val="222222"/>
                </a:solidFill>
              </a:rPr>
              <a:t>manage prospects and clients + integration with Mailchimp for email marketing</a:t>
            </a:r>
            <a:endParaRPr lang="en-US" sz="1600" dirty="0">
              <a:solidFill>
                <a:srgbClr val="C00000"/>
              </a:solidFill>
            </a:endParaRP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Learning Lab: </a:t>
            </a:r>
            <a:r>
              <a:rPr lang="en-US" sz="1600" dirty="0">
                <a:solidFill>
                  <a:srgbClr val="222222"/>
                </a:solidFill>
              </a:rPr>
              <a:t>sales &amp; marketing videos &amp; articles </a:t>
            </a:r>
            <a:endParaRPr lang="en-US" sz="1600" dirty="0">
              <a:solidFill>
                <a:srgbClr val="C00000"/>
              </a:solidFill>
            </a:endParaRP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>
                <a:solidFill>
                  <a:srgbClr val="C00000"/>
                </a:solidFill>
              </a:rPr>
              <a:t>One-on-One Coaching: </a:t>
            </a:r>
            <a:r>
              <a:rPr lang="en-US" sz="1600" dirty="0">
                <a:solidFill>
                  <a:srgbClr val="222222"/>
                </a:solidFill>
              </a:rPr>
              <a:t>scheduled sessions with marketing experts</a:t>
            </a:r>
            <a:endParaRPr lang="en-US" sz="1600" dirty="0">
              <a:solidFill>
                <a:srgbClr val="C00000"/>
              </a:solidFill>
            </a:endParaRPr>
          </a:p>
          <a:p>
            <a:pPr marL="571480" lvl="2" indent="-342892">
              <a:spcBef>
                <a:spcPts val="400"/>
              </a:spcBef>
              <a:spcAft>
                <a:spcPts val="400"/>
              </a:spcAft>
              <a:buClr>
                <a:srgbClr val="C00000"/>
              </a:buClr>
            </a:pPr>
            <a:endParaRPr lang="en-US" sz="1901" dirty="0"/>
          </a:p>
        </p:txBody>
      </p:sp>
    </p:spTree>
    <p:extLst>
      <p:ext uri="{BB962C8B-B14F-4D97-AF65-F5344CB8AC3E}">
        <p14:creationId xmlns:p14="http://schemas.microsoft.com/office/powerpoint/2010/main" val="298779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5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8"/>
            <a:ext cx="6965659" cy="1136143"/>
          </a:xfrm>
        </p:spPr>
        <p:txBody>
          <a:bodyPr/>
          <a:lstStyle/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elps small businesses establish and manage their </a:t>
            </a:r>
            <a:r>
              <a:rPr lang="en-US" sz="1800" dirty="0">
                <a:solidFill>
                  <a:srgbClr val="222222"/>
                </a:solidFill>
              </a:rPr>
              <a:t>online</a:t>
            </a:r>
            <a:r>
              <a:rPr lang="en-US" sz="1800" dirty="0">
                <a:solidFill>
                  <a:srgbClr val="00B050"/>
                </a:solidFill>
              </a:rPr>
              <a:t> </a:t>
            </a:r>
            <a:r>
              <a:rPr lang="en-US" sz="1800" dirty="0"/>
              <a:t>brand, improve search performance, and engage with customers.</a:t>
            </a:r>
          </a:p>
          <a:p>
            <a:pPr>
              <a:buClr>
                <a:srgbClr val="C00000"/>
              </a:buClr>
            </a:pPr>
            <a:r>
              <a:rPr lang="en-US" dirty="0">
                <a:solidFill>
                  <a:srgbClr val="00B050"/>
                </a:solidFill>
              </a:rPr>
              <a:t>		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6FC011-C78F-4AA1-95A0-22A423E5C348}"/>
              </a:ext>
            </a:extLst>
          </p:cNvPr>
          <p:cNvSpPr txBox="1"/>
          <p:nvPr/>
        </p:nvSpPr>
        <p:spPr>
          <a:xfrm>
            <a:off x="3580599" y="2757202"/>
            <a:ext cx="7777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  <a:buClr>
                <a:schemeClr val="accent1"/>
              </a:buClr>
            </a:pPr>
            <a:r>
              <a:rPr lang="en-US" sz="1800" dirty="0">
                <a:solidFill>
                  <a:schemeClr val="bg1"/>
                </a:solidFill>
                <a:latin typeface="+mj-lt"/>
              </a:rPr>
              <a:t>Assess</a:t>
            </a: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4C10B38D-5B65-4865-A9B9-F6F682B20407}"/>
              </a:ext>
            </a:extLst>
          </p:cNvPr>
          <p:cNvGraphicFramePr/>
          <p:nvPr/>
        </p:nvGraphicFramePr>
        <p:xfrm>
          <a:off x="4312866" y="2415578"/>
          <a:ext cx="3753853" cy="24917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2950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6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4047" y="1435607"/>
            <a:ext cx="7096691" cy="3200400"/>
          </a:xfrm>
        </p:spPr>
        <p:txBody>
          <a:bodyPr/>
          <a:lstStyle/>
          <a:p>
            <a:pPr marL="342892" indent="-342892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Clients will have the tools &amp; guidance they need to attract more customers &amp; increase their revenue. </a:t>
            </a: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Huge HR Pro upgrade potential! </a:t>
            </a:r>
          </a:p>
          <a:p>
            <a:pPr marL="571480" lvl="2" indent="-342892">
              <a:spcBef>
                <a:spcPts val="200"/>
              </a:spcBef>
              <a:spcAft>
                <a:spcPts val="200"/>
              </a:spcAft>
              <a:buClr>
                <a:srgbClr val="C00000"/>
              </a:buClr>
            </a:pPr>
            <a:r>
              <a:rPr lang="en-US" sz="1600" dirty="0"/>
              <a:t>Upnetic service offerings expand as the business expands. </a:t>
            </a:r>
          </a:p>
        </p:txBody>
      </p:sp>
    </p:spTree>
    <p:extLst>
      <p:ext uri="{BB962C8B-B14F-4D97-AF65-F5344CB8AC3E}">
        <p14:creationId xmlns:p14="http://schemas.microsoft.com/office/powerpoint/2010/main" val="48061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9D405-CCB3-4D0C-80B3-EE26332F4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118576"/>
            <a:ext cx="7498080" cy="369332"/>
          </a:xfrm>
        </p:spPr>
        <p:txBody>
          <a:bodyPr/>
          <a:lstStyle/>
          <a:p>
            <a:r>
              <a:rPr lang="en-US" sz="2400" dirty="0"/>
              <a:t>Upnetic Feature Comparison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20E050-ABC7-4809-A38A-A629E6CDF7B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7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C5128D9-1921-41A4-9795-C9A35A5A40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920455"/>
              </p:ext>
            </p:extLst>
          </p:nvPr>
        </p:nvGraphicFramePr>
        <p:xfrm>
          <a:off x="822959" y="805573"/>
          <a:ext cx="7498079" cy="40165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12907">
                  <a:extLst>
                    <a:ext uri="{9D8B030D-6E8A-4147-A177-3AD203B41FA5}">
                      <a16:colId xmlns:a16="http://schemas.microsoft.com/office/drawing/2014/main" val="821765338"/>
                    </a:ext>
                  </a:extLst>
                </a:gridCol>
                <a:gridCol w="4033619">
                  <a:extLst>
                    <a:ext uri="{9D8B030D-6E8A-4147-A177-3AD203B41FA5}">
                      <a16:colId xmlns:a16="http://schemas.microsoft.com/office/drawing/2014/main" val="1034134761"/>
                    </a:ext>
                  </a:extLst>
                </a:gridCol>
                <a:gridCol w="1263847">
                  <a:extLst>
                    <a:ext uri="{9D8B030D-6E8A-4147-A177-3AD203B41FA5}">
                      <a16:colId xmlns:a16="http://schemas.microsoft.com/office/drawing/2014/main" val="3690520350"/>
                    </a:ext>
                  </a:extLst>
                </a:gridCol>
                <a:gridCol w="587706">
                  <a:extLst>
                    <a:ext uri="{9D8B030D-6E8A-4147-A177-3AD203B41FA5}">
                      <a16:colId xmlns:a16="http://schemas.microsoft.com/office/drawing/2014/main" val="3735362850"/>
                    </a:ext>
                  </a:extLst>
                </a:gridCol>
              </a:tblGrid>
              <a:tr h="35635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/>
                        <a:t>Upnetic Features</a:t>
                      </a:r>
                    </a:p>
                  </a:txBody>
                  <a:tcPr marL="82064" marR="82064" marT="41032" marB="4103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/>
                        <a:t>Description</a:t>
                      </a:r>
                    </a:p>
                  </a:txBody>
                  <a:tcPr marL="82064" marR="82064" marT="41032" marB="4103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/>
                        <a:t>Marketing Toolkit </a:t>
                      </a:r>
                    </a:p>
                    <a:p>
                      <a:pPr algn="ctr"/>
                      <a:r>
                        <a:rPr lang="en-US" sz="800" b="1" dirty="0"/>
                        <a:t>Essential &amp; Enhanced</a:t>
                      </a:r>
                    </a:p>
                  </a:txBody>
                  <a:tcPr marL="82064" marR="82064" marT="41032" marB="4103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/>
                        <a:t>Upnetic </a:t>
                      </a:r>
                    </a:p>
                    <a:p>
                      <a:pPr algn="ctr"/>
                      <a:r>
                        <a:rPr lang="en-US" sz="800" b="1" dirty="0"/>
                        <a:t>HR Pro</a:t>
                      </a:r>
                    </a:p>
                  </a:txBody>
                  <a:tcPr marL="82064" marR="82064" marT="41032" marB="41032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385805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Google My Business Optimization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hance your local Google Search and Maps results by claiming and optimizing your profile with help from our team of certified experts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43200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CRM with Email Marketing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eamline your sales pipeline, store all your vital contact data, and create and send beautiful marketing emails through Mailchimp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349830"/>
                  </a:ext>
                </a:extLst>
              </a:tr>
              <a:tr h="208268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Digital Marketing Analyzer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 key steps to improve your website and digital brand from our web experts. 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306213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Learning Lab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arpen your skillset and get inspiration for growing your business in our library of sales &amp; marketing focused videos &amp; articles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8010113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Digital Media Dashboard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ke adjustments to your online brand based on real-time data and build your following by engaging followers through social media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137631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Website Builder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ild a fully responsive website with pre-made templates, unlimited pages, free SSL certificate, and free hosting. 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cs typeface="+mn-cs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355496"/>
                  </a:ext>
                </a:extLst>
              </a:tr>
              <a:tr h="457228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BizPro Training Courses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er &amp; Employee Training and Development platform with video courses on sensitive business matters and fundamental business practices. BizPro is available in the ADP® HR Pro bundle, or as a stand-alone app on ADP Marketplace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rgbClr val="C00000"/>
                          </a:solidFill>
                          <a:sym typeface="Wingdings" panose="05000000000000000000" pitchFamily="2" charset="2"/>
                        </a:rPr>
                        <a:t></a:t>
                      </a:r>
                      <a:endParaRPr lang="en-US" sz="800" b="1" dirty="0">
                        <a:solidFill>
                          <a:srgbClr val="C00000"/>
                        </a:solidFill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781921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Small Business Consultation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ve confidence in your decision making by asking any question, any time, and getting unlimited answers from our expert business consultants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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178607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Legal Services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 connected to a qualified attorney in your area to help with your business’s legal issues, including select services provided free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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062420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Business  Plan Software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cure funding and guide your business more effectively through a modern business plan, complete with financial statements and projections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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083704"/>
                  </a:ext>
                </a:extLst>
              </a:tr>
              <a:tr h="332749">
                <a:tc>
                  <a:txBody>
                    <a:bodyPr/>
                    <a:lstStyle/>
                    <a:p>
                      <a:pPr lvl="0" algn="l"/>
                      <a:r>
                        <a:rPr lang="en-US" sz="800" b="1" dirty="0"/>
                        <a:t>Business Roadmap Assessment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 action steps for key areas of your business with specific insights based on a customized analysis of your business.</a:t>
                      </a:r>
                    </a:p>
                  </a:txBody>
                  <a:tcPr marL="82064" marR="82064" marT="41032" marB="4103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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Taub Sans"/>
                          <a:cs typeface="Helvetica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Taub Sans"/>
                        <a:cs typeface="Helvetica"/>
                      </a:endParaRPr>
                    </a:p>
                  </a:txBody>
                  <a:tcPr marL="82064" marR="82064" marT="41032" marB="4103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990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878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Acces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8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46638" y="1429220"/>
            <a:ext cx="3743597" cy="3200400"/>
          </a:xfrm>
        </p:spPr>
        <p:txBody>
          <a:bodyPr/>
          <a:lstStyle/>
          <a:p>
            <a:pPr>
              <a:buClr>
                <a:srgbClr val="C00000"/>
              </a:buClr>
            </a:pPr>
            <a:r>
              <a:rPr lang="en-US" sz="1600" dirty="0"/>
              <a:t>SSO through RUN &gt; Exclusive Benefits:</a:t>
            </a:r>
            <a:endParaRPr lang="en-US" sz="11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074A8E-D5C9-41A5-A552-7CE1674CF1DB}"/>
              </a:ext>
            </a:extLst>
          </p:cNvPr>
          <p:cNvSpPr/>
          <p:nvPr/>
        </p:nvSpPr>
        <p:spPr>
          <a:xfrm>
            <a:off x="457200" y="2025495"/>
            <a:ext cx="2648309" cy="2604126"/>
          </a:xfrm>
          <a:prstGeom prst="rect">
            <a:avLst/>
          </a:prstGeom>
          <a:noFill/>
          <a:ln w="19050">
            <a:solidFill>
              <a:srgbClr val="263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5306F1-1004-4941-A1D1-C67102E49C1E}"/>
              </a:ext>
            </a:extLst>
          </p:cNvPr>
          <p:cNvSpPr txBox="1"/>
          <p:nvPr/>
        </p:nvSpPr>
        <p:spPr>
          <a:xfrm>
            <a:off x="800238" y="2221599"/>
            <a:ext cx="19688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1200"/>
              </a:spcAft>
              <a:buClr>
                <a:schemeClr val="accent1"/>
              </a:buClr>
            </a:pPr>
            <a:r>
              <a:rPr lang="en-US" sz="1600" b="1" dirty="0">
                <a:latin typeface="Montserrat" panose="02000505000000020004" pitchFamily="2" charset="0"/>
              </a:rPr>
              <a:t>Marketing Toolki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2DF9E3-48DE-4E55-873F-04B2AAACCA61}"/>
              </a:ext>
            </a:extLst>
          </p:cNvPr>
          <p:cNvSpPr txBox="1"/>
          <p:nvPr/>
        </p:nvSpPr>
        <p:spPr>
          <a:xfrm>
            <a:off x="668546" y="3363264"/>
            <a:ext cx="2225615" cy="6796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400"/>
              </a:spcAft>
              <a:buClr>
                <a:schemeClr val="accent1"/>
              </a:buClr>
            </a:pPr>
            <a:r>
              <a:rPr lang="en-US" sz="1050" dirty="0">
                <a:latin typeface="Comfortaa" panose="00000500000000000000" pitchFamily="2" charset="0"/>
              </a:rPr>
              <a:t>Website Builder + Audit</a:t>
            </a:r>
          </a:p>
          <a:p>
            <a:pPr algn="ctr">
              <a:spcAft>
                <a:spcPts val="400"/>
              </a:spcAft>
              <a:buClr>
                <a:schemeClr val="accent1"/>
              </a:buClr>
            </a:pPr>
            <a:r>
              <a:rPr lang="en-US" sz="1050" dirty="0">
                <a:latin typeface="Comfortaa" panose="00000500000000000000" pitchFamily="2" charset="0"/>
              </a:rPr>
              <a:t>Search + Social Media Tools</a:t>
            </a:r>
          </a:p>
          <a:p>
            <a:pPr algn="ctr">
              <a:spcAft>
                <a:spcPts val="400"/>
              </a:spcAft>
              <a:buClr>
                <a:schemeClr val="accent1"/>
              </a:buClr>
            </a:pPr>
            <a:r>
              <a:rPr lang="en-US" sz="1050" dirty="0">
                <a:latin typeface="Comfortaa" panose="00000500000000000000" pitchFamily="2" charset="0"/>
              </a:rPr>
              <a:t>CRM + Email Marketing</a:t>
            </a:r>
          </a:p>
        </p:txBody>
      </p:sp>
      <p:sp>
        <p:nvSpPr>
          <p:cNvPr id="18" name="Flowchart: Terminator 17">
            <a:extLst>
              <a:ext uri="{FF2B5EF4-FFF2-40B4-BE49-F238E27FC236}">
                <a16:creationId xmlns:a16="http://schemas.microsoft.com/office/drawing/2014/main" id="{D0D10EA1-27C6-4533-A950-2246A0D9004E}"/>
              </a:ext>
            </a:extLst>
          </p:cNvPr>
          <p:cNvSpPr/>
          <p:nvPr/>
        </p:nvSpPr>
        <p:spPr>
          <a:xfrm>
            <a:off x="1164566" y="4129828"/>
            <a:ext cx="1138687" cy="295525"/>
          </a:xfrm>
          <a:prstGeom prst="flowChartTerminator">
            <a:avLst/>
          </a:prstGeom>
          <a:solidFill>
            <a:srgbClr val="2AB32C"/>
          </a:solidFill>
          <a:ln w="19050">
            <a:solidFill>
              <a:srgbClr val="2AB3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0A2E7FA-1B44-4494-A30D-205246941D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860" y="2553478"/>
            <a:ext cx="1564844" cy="35320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DA24A18-4E8C-4CC1-9134-497508812EA9}"/>
              </a:ext>
            </a:extLst>
          </p:cNvPr>
          <p:cNvSpPr txBox="1"/>
          <p:nvPr/>
        </p:nvSpPr>
        <p:spPr>
          <a:xfrm>
            <a:off x="1388853" y="4184851"/>
            <a:ext cx="7246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200" dirty="0">
                <a:solidFill>
                  <a:schemeClr val="bg1"/>
                </a:solidFill>
                <a:latin typeface="Comfortaa" panose="00000500000000000000" pitchFamily="2" charset="0"/>
              </a:rPr>
              <a:t>Open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ED338523-57E4-473B-979C-D0E358E2F0C1}"/>
              </a:ext>
            </a:extLst>
          </p:cNvPr>
          <p:cNvSpPr/>
          <p:nvPr/>
        </p:nvSpPr>
        <p:spPr>
          <a:xfrm>
            <a:off x="3456317" y="3501057"/>
            <a:ext cx="2035834" cy="744176"/>
          </a:xfrm>
          <a:prstGeom prst="rightArrow">
            <a:avLst/>
          </a:prstGeom>
          <a:noFill/>
          <a:ln w="19050">
            <a:solidFill>
              <a:srgbClr val="263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1200"/>
              </a:spcAft>
              <a:buClr>
                <a:schemeClr val="accent1"/>
              </a:buClr>
            </a:pPr>
            <a:r>
              <a:rPr lang="en-US" sz="1200" dirty="0"/>
              <a:t>First login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24700B7E-3C5B-4EB4-9A75-F09D0E08E326}"/>
              </a:ext>
            </a:extLst>
          </p:cNvPr>
          <p:cNvSpPr/>
          <p:nvPr/>
        </p:nvSpPr>
        <p:spPr>
          <a:xfrm>
            <a:off x="3462068" y="2262448"/>
            <a:ext cx="2035834" cy="744176"/>
          </a:xfrm>
          <a:prstGeom prst="rightArrow">
            <a:avLst/>
          </a:prstGeom>
          <a:noFill/>
          <a:ln w="19050">
            <a:solidFill>
              <a:srgbClr val="263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06F2893-C3F3-4AB8-AF84-CC446BD3CCCD}"/>
              </a:ext>
            </a:extLst>
          </p:cNvPr>
          <p:cNvSpPr/>
          <p:nvPr/>
        </p:nvSpPr>
        <p:spPr>
          <a:xfrm>
            <a:off x="5788324" y="2025494"/>
            <a:ext cx="1966823" cy="1026543"/>
          </a:xfrm>
          <a:prstGeom prst="rect">
            <a:avLst/>
          </a:prstGeom>
          <a:noFill/>
          <a:ln w="19050">
            <a:solidFill>
              <a:srgbClr val="263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E4AEA41-52D8-4E6D-8C73-5727F0CFA900}"/>
              </a:ext>
            </a:extLst>
          </p:cNvPr>
          <p:cNvSpPr/>
          <p:nvPr/>
        </p:nvSpPr>
        <p:spPr>
          <a:xfrm>
            <a:off x="5788324" y="3453620"/>
            <a:ext cx="1966823" cy="1026543"/>
          </a:xfrm>
          <a:prstGeom prst="rect">
            <a:avLst/>
          </a:prstGeom>
          <a:noFill/>
          <a:ln w="19050">
            <a:solidFill>
              <a:srgbClr val="263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9AAB764-7F85-4E7A-BFE2-BFDAD697A710}"/>
              </a:ext>
            </a:extLst>
          </p:cNvPr>
          <p:cNvSpPr txBox="1"/>
          <p:nvPr/>
        </p:nvSpPr>
        <p:spPr>
          <a:xfrm>
            <a:off x="5978104" y="2321924"/>
            <a:ext cx="15872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600" dirty="0"/>
              <a:t>Digital Onboarding Consulta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4CE89BF-258C-4233-893A-C1A166BD4CD3}"/>
              </a:ext>
            </a:extLst>
          </p:cNvPr>
          <p:cNvSpPr txBox="1"/>
          <p:nvPr/>
        </p:nvSpPr>
        <p:spPr>
          <a:xfrm>
            <a:off x="6225574" y="3703100"/>
            <a:ext cx="109232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600" dirty="0"/>
              <a:t>Upnetic Homepag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5A7E2F9-35F7-48F6-96C0-283C9B6B8DB3}"/>
              </a:ext>
            </a:extLst>
          </p:cNvPr>
          <p:cNvSpPr txBox="1"/>
          <p:nvPr/>
        </p:nvSpPr>
        <p:spPr>
          <a:xfrm>
            <a:off x="3916936" y="2526814"/>
            <a:ext cx="101791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1200"/>
              </a:spcAft>
              <a:buClr>
                <a:schemeClr val="accent1"/>
              </a:buClr>
            </a:pPr>
            <a:r>
              <a:rPr lang="en-US" sz="1400" dirty="0"/>
              <a:t>First Logi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E7FF33-6483-4874-A68F-7AA4801B367A}"/>
              </a:ext>
            </a:extLst>
          </p:cNvPr>
          <p:cNvSpPr txBox="1"/>
          <p:nvPr/>
        </p:nvSpPr>
        <p:spPr>
          <a:xfrm>
            <a:off x="3744994" y="3765423"/>
            <a:ext cx="11649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1200"/>
              </a:spcAft>
              <a:buClr>
                <a:schemeClr val="accent1"/>
              </a:buClr>
            </a:pPr>
            <a:r>
              <a:rPr lang="en-US" sz="1400" dirty="0"/>
              <a:t>Returning Login</a:t>
            </a:r>
          </a:p>
        </p:txBody>
      </p:sp>
    </p:spTree>
    <p:extLst>
      <p:ext uri="{BB962C8B-B14F-4D97-AF65-F5344CB8AC3E}">
        <p14:creationId xmlns:p14="http://schemas.microsoft.com/office/powerpoint/2010/main" val="417953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131E2F-9A1C-4946-8E63-A1545E8CE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nboarding Consulta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73D965-7315-4F27-88D0-706EB9B960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363341" y="6539379"/>
            <a:ext cx="56106" cy="123111"/>
          </a:xfrm>
        </p:spPr>
        <p:txBody>
          <a:bodyPr/>
          <a:lstStyle/>
          <a:p>
            <a:pPr defTabSz="685766"/>
            <a:fld id="{0C691DA3-4ABE-49F3-91E6-D9975CC9DD5F}" type="slidenum">
              <a:rPr lang="en-US">
                <a:solidFill>
                  <a:srgbClr val="222222"/>
                </a:solidFill>
                <a:latin typeface="Taub Sans"/>
                <a:cs typeface="Helvetica"/>
              </a:rPr>
              <a:pPr defTabSz="685766"/>
              <a:t>9</a:t>
            </a:fld>
            <a:endParaRPr lang="en-US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28629-1B9D-4163-B975-C816B821BA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46638" y="1429220"/>
            <a:ext cx="2113473" cy="1995466"/>
          </a:xfrm>
        </p:spPr>
        <p:txBody>
          <a:bodyPr/>
          <a:lstStyle/>
          <a:p>
            <a:pPr algn="ctr">
              <a:buClr>
                <a:srgbClr val="C00000"/>
              </a:buClr>
            </a:pPr>
            <a:endParaRPr lang="en-US" sz="1600" dirty="0"/>
          </a:p>
          <a:p>
            <a:pPr algn="ctr">
              <a:buClr>
                <a:srgbClr val="C00000"/>
              </a:buClr>
            </a:pPr>
            <a:endParaRPr lang="en-US" sz="1600" dirty="0"/>
          </a:p>
          <a:p>
            <a:pPr algn="ctr">
              <a:buClr>
                <a:srgbClr val="C00000"/>
              </a:buClr>
            </a:pPr>
            <a:endParaRPr lang="en-US" sz="1600" dirty="0"/>
          </a:p>
          <a:p>
            <a:pPr algn="ctr">
              <a:buClr>
                <a:srgbClr val="C00000"/>
              </a:buClr>
            </a:pPr>
            <a:endParaRPr lang="en-US" sz="11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DBB0DF-721D-4039-A64C-6C896A40F02A}"/>
              </a:ext>
            </a:extLst>
          </p:cNvPr>
          <p:cNvSpPr txBox="1"/>
          <p:nvPr/>
        </p:nvSpPr>
        <p:spPr>
          <a:xfrm>
            <a:off x="3403879" y="1952440"/>
            <a:ext cx="145841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400" dirty="0"/>
              <a:t>Client schedules Marketing Consultation</a:t>
            </a:r>
          </a:p>
          <a:p>
            <a:pPr algn="ctr">
              <a:spcAft>
                <a:spcPts val="1200"/>
              </a:spcAft>
              <a:buClr>
                <a:schemeClr val="accent1"/>
              </a:buClr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420AED-84DA-47C3-B868-3B2CFC5D727B}"/>
              </a:ext>
            </a:extLst>
          </p:cNvPr>
          <p:cNvSpPr txBox="1"/>
          <p:nvPr/>
        </p:nvSpPr>
        <p:spPr>
          <a:xfrm>
            <a:off x="6461495" y="2096787"/>
            <a:ext cx="9803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400" dirty="0"/>
              <a:t>Client enters Upnetic </a:t>
            </a:r>
            <a:endParaRPr lang="en-US" sz="12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3D2570-F4B5-48E9-8FBC-B44D8C045956}"/>
              </a:ext>
            </a:extLst>
          </p:cNvPr>
          <p:cNvSpPr/>
          <p:nvPr/>
        </p:nvSpPr>
        <p:spPr>
          <a:xfrm>
            <a:off x="313464" y="1412713"/>
            <a:ext cx="2113472" cy="1839445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B63529-2905-42F1-BF6E-7C82E78AC4DF}"/>
              </a:ext>
            </a:extLst>
          </p:cNvPr>
          <p:cNvSpPr/>
          <p:nvPr/>
        </p:nvSpPr>
        <p:spPr>
          <a:xfrm>
            <a:off x="3076352" y="1407820"/>
            <a:ext cx="2113472" cy="1839445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C69D1E-1C88-4FA5-9579-2B5E27BAA5C4}"/>
              </a:ext>
            </a:extLst>
          </p:cNvPr>
          <p:cNvSpPr/>
          <p:nvPr/>
        </p:nvSpPr>
        <p:spPr>
          <a:xfrm>
            <a:off x="5839240" y="1407820"/>
            <a:ext cx="2113472" cy="184433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783F31-F941-485C-BDF6-50E1A2DE7D70}"/>
              </a:ext>
            </a:extLst>
          </p:cNvPr>
          <p:cNvSpPr txBox="1"/>
          <p:nvPr/>
        </p:nvSpPr>
        <p:spPr>
          <a:xfrm>
            <a:off x="389030" y="1521553"/>
            <a:ext cx="1768405" cy="2062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1400" dirty="0"/>
              <a:t>Client provides: </a:t>
            </a:r>
          </a:p>
          <a:p>
            <a:pPr algn="l">
              <a:buClr>
                <a:schemeClr val="accent1"/>
              </a:buClr>
            </a:pPr>
            <a:endParaRPr lang="en-US" sz="1200" dirty="0"/>
          </a:p>
          <a:p>
            <a:pPr algn="l">
              <a:buClr>
                <a:schemeClr val="accent1"/>
              </a:buClr>
            </a:pPr>
            <a:r>
              <a:rPr lang="en-US" sz="1200" dirty="0"/>
              <a:t>Industry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Number of Employees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Entity &amp; Business Type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State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Website URL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GMB/Social</a:t>
            </a:r>
          </a:p>
          <a:p>
            <a:pPr algn="l">
              <a:buClr>
                <a:schemeClr val="accent1"/>
              </a:buClr>
            </a:pPr>
            <a:r>
              <a:rPr lang="en-US" sz="1200" dirty="0"/>
              <a:t>CRM </a:t>
            </a:r>
          </a:p>
          <a:p>
            <a:pPr algn="l">
              <a:buClr>
                <a:schemeClr val="accent1"/>
              </a:buClr>
            </a:pPr>
            <a:endParaRPr lang="en-US" sz="1200" dirty="0"/>
          </a:p>
          <a:p>
            <a:pPr algn="l">
              <a:buClr>
                <a:schemeClr val="accent1"/>
              </a:buClr>
            </a:pPr>
            <a:endParaRPr lang="en-US" sz="1200" dirty="0"/>
          </a:p>
        </p:txBody>
      </p:sp>
      <p:sp>
        <p:nvSpPr>
          <p:cNvPr id="21" name="Arrow: Bent-Up 20">
            <a:extLst>
              <a:ext uri="{FF2B5EF4-FFF2-40B4-BE49-F238E27FC236}">
                <a16:creationId xmlns:a16="http://schemas.microsoft.com/office/drawing/2014/main" id="{2C689CAE-BE14-4729-A123-620093BDA937}"/>
              </a:ext>
            </a:extLst>
          </p:cNvPr>
          <p:cNvSpPr/>
          <p:nvPr/>
        </p:nvSpPr>
        <p:spPr>
          <a:xfrm rot="5400000">
            <a:off x="2471704" y="3442132"/>
            <a:ext cx="810886" cy="775998"/>
          </a:xfrm>
          <a:prstGeom prst="bentUpArrow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783E0B7F-260B-4746-87CC-0EADB9126594}"/>
              </a:ext>
            </a:extLst>
          </p:cNvPr>
          <p:cNvSpPr/>
          <p:nvPr/>
        </p:nvSpPr>
        <p:spPr>
          <a:xfrm>
            <a:off x="5246014" y="2112098"/>
            <a:ext cx="566065" cy="430887"/>
          </a:xfrm>
          <a:prstGeom prst="rightArrow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204ABCEA-0322-49AC-888A-DF9F5F364DAD}"/>
              </a:ext>
            </a:extLst>
          </p:cNvPr>
          <p:cNvSpPr/>
          <p:nvPr/>
        </p:nvSpPr>
        <p:spPr>
          <a:xfrm>
            <a:off x="2489148" y="2098982"/>
            <a:ext cx="566065" cy="430887"/>
          </a:xfrm>
          <a:prstGeom prst="rightArrow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BC675A2-44E3-4668-A368-4ADA022D948E}"/>
              </a:ext>
            </a:extLst>
          </p:cNvPr>
          <p:cNvSpPr/>
          <p:nvPr/>
        </p:nvSpPr>
        <p:spPr>
          <a:xfrm>
            <a:off x="3352518" y="3430010"/>
            <a:ext cx="1554215" cy="1381141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2818BF-42AB-4CF9-89B2-25107A5C262A}"/>
              </a:ext>
            </a:extLst>
          </p:cNvPr>
          <p:cNvSpPr txBox="1"/>
          <p:nvPr/>
        </p:nvSpPr>
        <p:spPr>
          <a:xfrm>
            <a:off x="3508411" y="3689693"/>
            <a:ext cx="124242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  <a:buClr>
                <a:schemeClr val="accent1"/>
              </a:buClr>
            </a:pPr>
            <a:r>
              <a:rPr lang="en-US" sz="1400" dirty="0"/>
              <a:t>Client receives Website &amp; Digital Marketing Analysis report</a:t>
            </a:r>
          </a:p>
        </p:txBody>
      </p:sp>
    </p:spTree>
    <p:extLst>
      <p:ext uri="{BB962C8B-B14F-4D97-AF65-F5344CB8AC3E}">
        <p14:creationId xmlns:p14="http://schemas.microsoft.com/office/powerpoint/2010/main" val="414127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PtQ37uS1uSLPJiUgU7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D_tj2BspRM4LbPZTtS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dUJmHT.t0XuGu3DpMm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CwCd59hBdlNIGn5v8k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RZwuv2AeWApcjPQumm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Dp8AKhmbgmZC8cr0EP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DMF294DJ6fTe7zvUF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r2I3k0Wvh2YX7TGmHE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Dpm9TH0_aB_Yb.sVm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0MRlvW2ZI9y7ktkEj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3VU_Flq12.IrDx8Kpq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isapiaPq4ugz1CiysY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SeezLcnzWKn7RobZWP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nV0lzpsPSZiP8nUUfV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Vdptav.u0RmimtHA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X6pCBVYCneANowlY66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9i6rRNMKAyzxDAhDf_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tpsA6pZwt.fUGgr3t.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lCr8FJKb2CWKP7XtdX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kQBhm8kJtmTsEjgqhb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U_pg0hFueiYUADnW.xh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K2KBTbd4gJ_x92RSH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ZTDQ_Mk4ISg6TtjzQW0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qq_0xJjB1yJhtQyAvN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QKdaPeDeA1NpRkJsEC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lv3X5_JLGY7paO7vBW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1c6u1g6la1HiH2tYUm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Glnp5Owt7yh78ycsGJ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Zst8uGBfL3tA3c3ZO_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nraNCgIG9vXwFcWmRu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tUGLKq4mDQ0lbvFECf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EZLnIq1S0ju5Z2Qk38c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XxCv3S_4Zvkqf9Mii0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0RJ1ZEGECmjZr.qPWe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fCaNGSXaq4dOHPd.FE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2474otbIW3qNgELpVq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PbtU9v3YVbFUaXPmcv0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EFX0IuNXRLJDFuX.S53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OXQFbf50JrJPlMJyXg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0Fdwso_K7c2CmrvO8gx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KLa9ddkkBmUXJKneEG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TQKWOPWjb3z_yY.HXnV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dRRHp7PKe2gWWR1aTN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.LoqP5CL36Ix_e4pIN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zgfYMxfAao4PAqzHBaQ"/>
</p:tagLst>
</file>

<file path=ppt/theme/theme1.xml><?xml version="1.0" encoding="utf-8"?>
<a:theme xmlns:a="http://schemas.openxmlformats.org/drawingml/2006/main" name="ADP 16:9 (Blu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1200"/>
          </a:spcAft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buClr>
            <a:schemeClr val="accent1"/>
          </a:buCl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AA50BDEF-5C12-174E-8687-C39AAEE0BAD4}"/>
    </a:ext>
  </a:extLst>
</a:theme>
</file>

<file path=ppt/theme/theme2.xml><?xml version="1.0" encoding="utf-8"?>
<a:theme xmlns:a="http://schemas.openxmlformats.org/drawingml/2006/main" name="ADP 16:9 (Ros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1200"/>
          </a:spcAft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buClr>
            <a:schemeClr val="accent1"/>
          </a:buCl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9C13AFF3-64CA-6C4B-9127-0317A01BB621}"/>
    </a:ext>
  </a:extLst>
</a:theme>
</file>

<file path=ppt/theme/theme3.xml><?xml version="1.0" encoding="utf-8"?>
<a:theme xmlns:a="http://schemas.openxmlformats.org/drawingml/2006/main" name="ADP 16:9 (Tan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1200"/>
          </a:spcAft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buClr>
            <a:schemeClr val="accent1"/>
          </a:buCl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DC9556C9-8BB3-0B4F-BCE3-7D269BAC92A3}"/>
    </a:ext>
  </a:extLst>
</a:theme>
</file>

<file path=ppt/theme/theme4.xml><?xml version="1.0" encoding="utf-8"?>
<a:theme xmlns:a="http://schemas.openxmlformats.org/drawingml/2006/main" name="ADP 16:9 (Global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20000"/>
          </a:lnSpc>
          <a:spcAft>
            <a:spcPts val="1800"/>
          </a:spcAft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17E9DCFE-EE3F-934D-9830-1FAAE0B08DF3}"/>
    </a:ext>
  </a:extLst>
</a:theme>
</file>

<file path=ppt/theme/theme5.xml><?xml version="1.0" encoding="utf-8"?>
<a:theme xmlns:a="http://schemas.openxmlformats.org/drawingml/2006/main" name="ADP 16:9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1200"/>
          </a:spcAft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buClr>
            <a:schemeClr val="accent1"/>
          </a:buClr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4F9DA866-465E-1940-8140-732DF97CE75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DP 16:9 (Purple) | SketchDeck</Template>
  <TotalTime>17327</TotalTime>
  <Words>1497</Words>
  <Application>Microsoft Office PowerPoint</Application>
  <PresentationFormat>On-screen Show (16:9)</PresentationFormat>
  <Paragraphs>294</Paragraphs>
  <Slides>21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Calibri</vt:lpstr>
      <vt:lpstr>Comfortaa</vt:lpstr>
      <vt:lpstr>Courier New</vt:lpstr>
      <vt:lpstr>Montserrat</vt:lpstr>
      <vt:lpstr>Taub Sans</vt:lpstr>
      <vt:lpstr>Wingdings</vt:lpstr>
      <vt:lpstr>ADP 16:9 (Blue) | SketchDeck</vt:lpstr>
      <vt:lpstr>ADP 16:9 (Rose) | SketchDeck</vt:lpstr>
      <vt:lpstr>ADP 16:9 (Tan) | SketchDeck</vt:lpstr>
      <vt:lpstr>ADP 16:9 (Global) | SketchDeck</vt:lpstr>
      <vt:lpstr>ADP 16:9 (Purple) | SketchDeck</vt:lpstr>
      <vt:lpstr>think-cell Slide</vt:lpstr>
      <vt:lpstr>PowerPoint Presentation</vt:lpstr>
      <vt:lpstr>Overview</vt:lpstr>
      <vt:lpstr>Overview (cont.)</vt:lpstr>
      <vt:lpstr>Is</vt:lpstr>
      <vt:lpstr>Does</vt:lpstr>
      <vt:lpstr>Means</vt:lpstr>
      <vt:lpstr>Upnetic Feature Comparison Chart</vt:lpstr>
      <vt:lpstr>Client Access</vt:lpstr>
      <vt:lpstr>Digital Onboarding Consultant</vt:lpstr>
      <vt:lpstr>Digital Marketing Analyzer</vt:lpstr>
      <vt:lpstr>Website Builder Features</vt:lpstr>
      <vt:lpstr>Website Builder Benefits</vt:lpstr>
      <vt:lpstr>Website Templates</vt:lpstr>
      <vt:lpstr>Digital Media Dashboard</vt:lpstr>
      <vt:lpstr>Google My Business Optimization</vt:lpstr>
      <vt:lpstr>CRM</vt:lpstr>
      <vt:lpstr>Qualifying Questions</vt:lpstr>
      <vt:lpstr>Competition: Freshlime via Paychex</vt:lpstr>
      <vt:lpstr>Competitive Advantage</vt:lpstr>
      <vt:lpstr>Reca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y, Yin (ES)</dc:creator>
  <cp:lastModifiedBy>Rachel Baker</cp:lastModifiedBy>
  <cp:revision>403</cp:revision>
  <dcterms:created xsi:type="dcterms:W3CDTF">2019-05-28T19:11:58Z</dcterms:created>
  <dcterms:modified xsi:type="dcterms:W3CDTF">2020-10-26T18:55:02Z</dcterms:modified>
</cp:coreProperties>
</file>